
<file path=[Content_Types].xml><?xml version="1.0" encoding="utf-8"?>
<Types xmlns="http://schemas.openxmlformats.org/package/2006/content-types">
  <Default Extension="png" ContentType="image/png"/>
  <Default Extension="m4a" ContentType="audio/mp4"/>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56" r:id="rId2"/>
    <p:sldId id="259" r:id="rId3"/>
    <p:sldId id="298" r:id="rId4"/>
    <p:sldId id="258" r:id="rId5"/>
    <p:sldId id="285" r:id="rId6"/>
    <p:sldId id="284" r:id="rId7"/>
    <p:sldId id="260" r:id="rId8"/>
    <p:sldId id="294" r:id="rId9"/>
    <p:sldId id="283" r:id="rId10"/>
    <p:sldId id="265" r:id="rId11"/>
    <p:sldId id="291" r:id="rId12"/>
    <p:sldId id="287" r:id="rId13"/>
    <p:sldId id="295" r:id="rId14"/>
    <p:sldId id="290" r:id="rId15"/>
    <p:sldId id="288" r:id="rId16"/>
    <p:sldId id="278" r:id="rId17"/>
    <p:sldId id="292" r:id="rId18"/>
    <p:sldId id="289" r:id="rId19"/>
    <p:sldId id="296" r:id="rId20"/>
    <p:sldId id="286" r:id="rId21"/>
    <p:sldId id="282" r:id="rId22"/>
    <p:sldId id="266" r:id="rId23"/>
    <p:sldId id="293" r:id="rId24"/>
    <p:sldId id="280" r:id="rId25"/>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E7574"/>
    <a:srgbClr val="DE41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824" autoAdjust="0"/>
    <p:restoredTop sz="94660"/>
  </p:normalViewPr>
  <p:slideViewPr>
    <p:cSldViewPr snapToGrid="0">
      <p:cViewPr varScale="1">
        <p:scale>
          <a:sx n="92" d="100"/>
          <a:sy n="92" d="100"/>
        </p:scale>
        <p:origin x="312"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DDC4DA-581E-4418-AB76-336264DD6F01}" type="datetimeFigureOut">
              <a:rPr lang="zh-CN" altLang="en-US" smtClean="0"/>
              <a:t>2017/9/4 Monday</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43E3DE-11AD-402A-9883-7D268646A9CD}" type="slidenum">
              <a:rPr lang="zh-CN" altLang="en-US" smtClean="0"/>
              <a:t>‹#›</a:t>
            </a:fld>
            <a:endParaRPr lang="zh-CN" altLang="en-US"/>
          </a:p>
        </p:txBody>
      </p:sp>
    </p:spTree>
    <p:extLst>
      <p:ext uri="{BB962C8B-B14F-4D97-AF65-F5344CB8AC3E}">
        <p14:creationId xmlns:p14="http://schemas.microsoft.com/office/powerpoint/2010/main" val="93814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a:t>
            </a:fld>
            <a:endParaRPr lang="zh-CN" altLang="en-US"/>
          </a:p>
        </p:txBody>
      </p:sp>
    </p:spTree>
    <p:extLst>
      <p:ext uri="{BB962C8B-B14F-4D97-AF65-F5344CB8AC3E}">
        <p14:creationId xmlns:p14="http://schemas.microsoft.com/office/powerpoint/2010/main" val="430735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0</a:t>
            </a:fld>
            <a:endParaRPr lang="zh-CN" altLang="en-US"/>
          </a:p>
        </p:txBody>
      </p:sp>
    </p:spTree>
    <p:extLst>
      <p:ext uri="{BB962C8B-B14F-4D97-AF65-F5344CB8AC3E}">
        <p14:creationId xmlns:p14="http://schemas.microsoft.com/office/powerpoint/2010/main" val="957766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1</a:t>
            </a:fld>
            <a:endParaRPr lang="zh-CN" altLang="en-US"/>
          </a:p>
        </p:txBody>
      </p:sp>
    </p:spTree>
    <p:extLst>
      <p:ext uri="{BB962C8B-B14F-4D97-AF65-F5344CB8AC3E}">
        <p14:creationId xmlns:p14="http://schemas.microsoft.com/office/powerpoint/2010/main" val="2014810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2</a:t>
            </a:fld>
            <a:endParaRPr lang="zh-CN" altLang="en-US"/>
          </a:p>
        </p:txBody>
      </p:sp>
    </p:spTree>
    <p:extLst>
      <p:ext uri="{BB962C8B-B14F-4D97-AF65-F5344CB8AC3E}">
        <p14:creationId xmlns:p14="http://schemas.microsoft.com/office/powerpoint/2010/main" val="1558851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3</a:t>
            </a:fld>
            <a:endParaRPr lang="zh-CN" altLang="en-US"/>
          </a:p>
        </p:txBody>
      </p:sp>
    </p:spTree>
    <p:extLst>
      <p:ext uri="{BB962C8B-B14F-4D97-AF65-F5344CB8AC3E}">
        <p14:creationId xmlns:p14="http://schemas.microsoft.com/office/powerpoint/2010/main" val="12891101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4</a:t>
            </a:fld>
            <a:endParaRPr lang="zh-CN" altLang="en-US"/>
          </a:p>
        </p:txBody>
      </p:sp>
    </p:spTree>
    <p:extLst>
      <p:ext uri="{BB962C8B-B14F-4D97-AF65-F5344CB8AC3E}">
        <p14:creationId xmlns:p14="http://schemas.microsoft.com/office/powerpoint/2010/main" val="194637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5</a:t>
            </a:fld>
            <a:endParaRPr lang="zh-CN" altLang="en-US"/>
          </a:p>
        </p:txBody>
      </p:sp>
    </p:spTree>
    <p:extLst>
      <p:ext uri="{BB962C8B-B14F-4D97-AF65-F5344CB8AC3E}">
        <p14:creationId xmlns:p14="http://schemas.microsoft.com/office/powerpoint/2010/main" val="30952786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6</a:t>
            </a:fld>
            <a:endParaRPr lang="zh-CN" altLang="en-US"/>
          </a:p>
        </p:txBody>
      </p:sp>
    </p:spTree>
    <p:extLst>
      <p:ext uri="{BB962C8B-B14F-4D97-AF65-F5344CB8AC3E}">
        <p14:creationId xmlns:p14="http://schemas.microsoft.com/office/powerpoint/2010/main" val="4156661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7</a:t>
            </a:fld>
            <a:endParaRPr lang="zh-CN" altLang="en-US"/>
          </a:p>
        </p:txBody>
      </p:sp>
    </p:spTree>
    <p:extLst>
      <p:ext uri="{BB962C8B-B14F-4D97-AF65-F5344CB8AC3E}">
        <p14:creationId xmlns:p14="http://schemas.microsoft.com/office/powerpoint/2010/main" val="2914484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8</a:t>
            </a:fld>
            <a:endParaRPr lang="zh-CN" altLang="en-US"/>
          </a:p>
        </p:txBody>
      </p:sp>
    </p:spTree>
    <p:extLst>
      <p:ext uri="{BB962C8B-B14F-4D97-AF65-F5344CB8AC3E}">
        <p14:creationId xmlns:p14="http://schemas.microsoft.com/office/powerpoint/2010/main" val="15442840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19</a:t>
            </a:fld>
            <a:endParaRPr lang="zh-CN" altLang="en-US"/>
          </a:p>
        </p:txBody>
      </p:sp>
    </p:spTree>
    <p:extLst>
      <p:ext uri="{BB962C8B-B14F-4D97-AF65-F5344CB8AC3E}">
        <p14:creationId xmlns:p14="http://schemas.microsoft.com/office/powerpoint/2010/main" val="3614246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2</a:t>
            </a:fld>
            <a:endParaRPr lang="zh-CN" altLang="en-US"/>
          </a:p>
        </p:txBody>
      </p:sp>
    </p:spTree>
    <p:extLst>
      <p:ext uri="{BB962C8B-B14F-4D97-AF65-F5344CB8AC3E}">
        <p14:creationId xmlns:p14="http://schemas.microsoft.com/office/powerpoint/2010/main" val="35169375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20</a:t>
            </a:fld>
            <a:endParaRPr lang="zh-CN" altLang="en-US"/>
          </a:p>
        </p:txBody>
      </p:sp>
    </p:spTree>
    <p:extLst>
      <p:ext uri="{BB962C8B-B14F-4D97-AF65-F5344CB8AC3E}">
        <p14:creationId xmlns:p14="http://schemas.microsoft.com/office/powerpoint/2010/main" val="1124098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21</a:t>
            </a:fld>
            <a:endParaRPr lang="zh-CN" altLang="en-US"/>
          </a:p>
        </p:txBody>
      </p:sp>
    </p:spTree>
    <p:extLst>
      <p:ext uri="{BB962C8B-B14F-4D97-AF65-F5344CB8AC3E}">
        <p14:creationId xmlns:p14="http://schemas.microsoft.com/office/powerpoint/2010/main" val="3733473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22</a:t>
            </a:fld>
            <a:endParaRPr lang="zh-CN" altLang="en-US"/>
          </a:p>
        </p:txBody>
      </p:sp>
    </p:spTree>
    <p:extLst>
      <p:ext uri="{BB962C8B-B14F-4D97-AF65-F5344CB8AC3E}">
        <p14:creationId xmlns:p14="http://schemas.microsoft.com/office/powerpoint/2010/main" val="125091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23</a:t>
            </a:fld>
            <a:endParaRPr lang="zh-CN" altLang="en-US"/>
          </a:p>
        </p:txBody>
      </p:sp>
    </p:spTree>
    <p:extLst>
      <p:ext uri="{BB962C8B-B14F-4D97-AF65-F5344CB8AC3E}">
        <p14:creationId xmlns:p14="http://schemas.microsoft.com/office/powerpoint/2010/main" val="38546567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24</a:t>
            </a:fld>
            <a:endParaRPr lang="zh-CN" altLang="en-US"/>
          </a:p>
        </p:txBody>
      </p:sp>
    </p:spTree>
    <p:extLst>
      <p:ext uri="{BB962C8B-B14F-4D97-AF65-F5344CB8AC3E}">
        <p14:creationId xmlns:p14="http://schemas.microsoft.com/office/powerpoint/2010/main" val="986523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3</a:t>
            </a:fld>
            <a:endParaRPr lang="zh-CN" altLang="en-US"/>
          </a:p>
        </p:txBody>
      </p:sp>
    </p:spTree>
    <p:extLst>
      <p:ext uri="{BB962C8B-B14F-4D97-AF65-F5344CB8AC3E}">
        <p14:creationId xmlns:p14="http://schemas.microsoft.com/office/powerpoint/2010/main" val="1961125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4</a:t>
            </a:fld>
            <a:endParaRPr lang="zh-CN" altLang="en-US"/>
          </a:p>
        </p:txBody>
      </p:sp>
    </p:spTree>
    <p:extLst>
      <p:ext uri="{BB962C8B-B14F-4D97-AF65-F5344CB8AC3E}">
        <p14:creationId xmlns:p14="http://schemas.microsoft.com/office/powerpoint/2010/main" val="2238143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5</a:t>
            </a:fld>
            <a:endParaRPr lang="zh-CN" altLang="en-US"/>
          </a:p>
        </p:txBody>
      </p:sp>
    </p:spTree>
    <p:extLst>
      <p:ext uri="{BB962C8B-B14F-4D97-AF65-F5344CB8AC3E}">
        <p14:creationId xmlns:p14="http://schemas.microsoft.com/office/powerpoint/2010/main" val="3179637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6</a:t>
            </a:fld>
            <a:endParaRPr lang="zh-CN" altLang="en-US"/>
          </a:p>
        </p:txBody>
      </p:sp>
    </p:spTree>
    <p:extLst>
      <p:ext uri="{BB962C8B-B14F-4D97-AF65-F5344CB8AC3E}">
        <p14:creationId xmlns:p14="http://schemas.microsoft.com/office/powerpoint/2010/main" val="2070195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7</a:t>
            </a:fld>
            <a:endParaRPr lang="zh-CN" altLang="en-US"/>
          </a:p>
        </p:txBody>
      </p:sp>
    </p:spTree>
    <p:extLst>
      <p:ext uri="{BB962C8B-B14F-4D97-AF65-F5344CB8AC3E}">
        <p14:creationId xmlns:p14="http://schemas.microsoft.com/office/powerpoint/2010/main" val="575236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8</a:t>
            </a:fld>
            <a:endParaRPr lang="zh-CN" altLang="en-US"/>
          </a:p>
        </p:txBody>
      </p:sp>
    </p:spTree>
    <p:extLst>
      <p:ext uri="{BB962C8B-B14F-4D97-AF65-F5344CB8AC3E}">
        <p14:creationId xmlns:p14="http://schemas.microsoft.com/office/powerpoint/2010/main" val="3083630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43E3DE-11AD-402A-9883-7D268646A9CD}" type="slidenum">
              <a:rPr lang="zh-CN" altLang="en-US" smtClean="0"/>
              <a:t>9</a:t>
            </a:fld>
            <a:endParaRPr lang="zh-CN" altLang="en-US"/>
          </a:p>
        </p:txBody>
      </p:sp>
    </p:spTree>
    <p:extLst>
      <p:ext uri="{BB962C8B-B14F-4D97-AF65-F5344CB8AC3E}">
        <p14:creationId xmlns:p14="http://schemas.microsoft.com/office/powerpoint/2010/main" val="9372197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76118643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226033540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56298038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28911241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139496509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14087260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251221869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322004464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2078716071"/>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231184088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2C51918F-BED8-42B9-91D8-34D8D46DE196}" type="datetimeFigureOut">
              <a:rPr lang="zh-CN" altLang="en-US" smtClean="0"/>
              <a:t>2017/9/4 Monday</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67479964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weave">
          <a:fgClr>
            <a:schemeClr val="bg2"/>
          </a:fgClr>
          <a:bgClr>
            <a:schemeClr val="bg1"/>
          </a:bgClr>
        </a:patt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51918F-BED8-42B9-91D8-34D8D46DE196}" type="datetimeFigureOut">
              <a:rPr lang="zh-CN" altLang="en-US" smtClean="0"/>
              <a:t>2017/9/4 Monday</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63E2B7-059A-4A92-BC76-0A5F10FA1C73}" type="slidenum">
              <a:rPr lang="zh-CN" altLang="en-US" smtClean="0"/>
              <a:t>‹#›</a:t>
            </a:fld>
            <a:endParaRPr lang="zh-CN" altLang="en-US"/>
          </a:p>
        </p:txBody>
      </p:sp>
    </p:spTree>
    <p:extLst>
      <p:ext uri="{BB962C8B-B14F-4D97-AF65-F5344CB8AC3E}">
        <p14:creationId xmlns:p14="http://schemas.microsoft.com/office/powerpoint/2010/main" val="22836337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audio" Target="../media/media1.m4a"/><Relationship Id="rId2" Type="http://schemas.microsoft.com/office/2007/relationships/media" Target="../media/media1.m4a"/><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audio" Target="../media/media10.m4a"/><Relationship Id="rId2" Type="http://schemas.microsoft.com/office/2007/relationships/media" Target="../media/media10.m4a"/><Relationship Id="rId1" Type="http://schemas.openxmlformats.org/officeDocument/2006/relationships/tags" Target="../tags/tag3.xml"/><Relationship Id="rId6" Type="http://schemas.openxmlformats.org/officeDocument/2006/relationships/image" Target="../media/image1.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1.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1.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3.m4a"/><Relationship Id="rId1" Type="http://schemas.microsoft.com/office/2007/relationships/media" Target="../media/media13.m4a"/><Relationship Id="rId5" Type="http://schemas.openxmlformats.org/officeDocument/2006/relationships/image" Target="../media/image1.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4.m4a"/><Relationship Id="rId1" Type="http://schemas.microsoft.com/office/2007/relationships/media" Target="../media/media14.m4a"/><Relationship Id="rId5" Type="http://schemas.openxmlformats.org/officeDocument/2006/relationships/image" Target="../media/image1.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1.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1.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7.m4a"/><Relationship Id="rId1" Type="http://schemas.microsoft.com/office/2007/relationships/media" Target="../media/media17.m4a"/><Relationship Id="rId5" Type="http://schemas.openxmlformats.org/officeDocument/2006/relationships/image" Target="../media/image1.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1.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9.m4a"/><Relationship Id="rId1" Type="http://schemas.microsoft.com/office/2007/relationships/media" Target="../media/media19.m4a"/><Relationship Id="rId5" Type="http://schemas.openxmlformats.org/officeDocument/2006/relationships/image" Target="../media/image1.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1.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notesSlide" Target="../notesSlides/notesSlide20.xml"/><Relationship Id="rId9" Type="http://schemas.openxmlformats.org/officeDocument/2006/relationships/image" Target="../media/image1.png"/></Relationships>
</file>

<file path=ppt/slides/_rels/slide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xml"/><Relationship Id="rId7" Type="http://schemas.openxmlformats.org/officeDocument/2006/relationships/image" Target="../media/image8.png"/><Relationship Id="rId2" Type="http://schemas.openxmlformats.org/officeDocument/2006/relationships/audio" Target="../media/media21.m4a"/><Relationship Id="rId1" Type="http://schemas.microsoft.com/office/2007/relationships/media" Target="../media/media21.m4a"/><Relationship Id="rId6" Type="http://schemas.openxmlformats.org/officeDocument/2006/relationships/image" Target="../media/image7.png"/><Relationship Id="rId5" Type="http://schemas.openxmlformats.org/officeDocument/2006/relationships/notesSlide" Target="../notesSlides/notesSlide21.xml"/><Relationship Id="rId10" Type="http://schemas.openxmlformats.org/officeDocument/2006/relationships/image" Target="../media/image1.png"/><Relationship Id="rId4" Type="http://schemas.openxmlformats.org/officeDocument/2006/relationships/slideLayout" Target="../slideLayouts/slideLayout2.xml"/><Relationship Id="rId9"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audio" Target="../media/media22.m4a"/><Relationship Id="rId2" Type="http://schemas.microsoft.com/office/2007/relationships/media" Target="../media/media22.m4a"/><Relationship Id="rId1" Type="http://schemas.openxmlformats.org/officeDocument/2006/relationships/tags" Target="../tags/tag5.xml"/><Relationship Id="rId6" Type="http://schemas.openxmlformats.org/officeDocument/2006/relationships/image" Target="../media/image1.png"/><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3.m4a"/><Relationship Id="rId1" Type="http://schemas.microsoft.com/office/2007/relationships/media" Target="../media/media23.m4a"/><Relationship Id="rId5" Type="http://schemas.openxmlformats.org/officeDocument/2006/relationships/image" Target="../media/image1.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audio" Target="../media/media24.m4a"/><Relationship Id="rId2" Type="http://schemas.microsoft.com/office/2007/relationships/media" Target="../media/media24.m4a"/><Relationship Id="rId1" Type="http://schemas.openxmlformats.org/officeDocument/2006/relationships/tags" Target="../tags/tag6.xml"/><Relationship Id="rId6" Type="http://schemas.openxmlformats.org/officeDocument/2006/relationships/image" Target="../media/image1.png"/><Relationship Id="rId5" Type="http://schemas.openxmlformats.org/officeDocument/2006/relationships/notesSlide" Target="../notesSlides/notesSlide24.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1.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4a"/><Relationship Id="rId1" Type="http://schemas.microsoft.com/office/2007/relationships/media" Target="../media/media4.m4a"/><Relationship Id="rId5" Type="http://schemas.openxmlformats.org/officeDocument/2006/relationships/image" Target="../media/image1.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1.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4a"/><Relationship Id="rId1" Type="http://schemas.microsoft.com/office/2007/relationships/media" Target="../media/media6.m4a"/><Relationship Id="rId5" Type="http://schemas.openxmlformats.org/officeDocument/2006/relationships/image" Target="../media/image1.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7.m4a"/><Relationship Id="rId1" Type="http://schemas.microsoft.com/office/2007/relationships/media" Target="../media/media7.m4a"/><Relationship Id="rId5" Type="http://schemas.openxmlformats.org/officeDocument/2006/relationships/image" Target="../media/image1.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1.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1.png"/><Relationship Id="rId5" Type="http://schemas.openxmlformats.org/officeDocument/2006/relationships/image" Target="../media/image2.jp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00000">
              <a:schemeClr val="tx1"/>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9" name="Rectangle 3"/>
          <p:cNvSpPr txBox="1">
            <a:spLocks noChangeArrowheads="1"/>
          </p:cNvSpPr>
          <p:nvPr/>
        </p:nvSpPr>
        <p:spPr bwMode="auto">
          <a:xfrm>
            <a:off x="1577249" y="3195754"/>
            <a:ext cx="7982388" cy="677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algn="l" rtl="0" fontAlgn="base">
              <a:spcBef>
                <a:spcPct val="0"/>
              </a:spcBef>
              <a:spcAft>
                <a:spcPct val="0"/>
              </a:spcAft>
              <a:defRPr sz="2400">
                <a:solidFill>
                  <a:schemeClr val="bg1"/>
                </a:solidFill>
                <a:latin typeface="+mj-lt"/>
                <a:ea typeface="+mj-ea"/>
                <a:cs typeface="+mj-cs"/>
              </a:defRPr>
            </a:lvl1pPr>
            <a:lvl2pPr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2pPr>
            <a:lvl3pPr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3pPr>
            <a:lvl4pPr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4pPr>
            <a:lvl5pPr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5pPr>
            <a:lvl6pPr marL="457200"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6pPr>
            <a:lvl7pPr marL="914400"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7pPr>
            <a:lvl8pPr marL="1371600"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8pPr>
            <a:lvl9pPr marL="1828800" algn="l" rtl="0" fontAlgn="base">
              <a:spcBef>
                <a:spcPct val="0"/>
              </a:spcBef>
              <a:spcAft>
                <a:spcPct val="0"/>
              </a:spcAft>
              <a:defRPr sz="2400">
                <a:solidFill>
                  <a:schemeClr val="tx2"/>
                </a:solidFill>
                <a:latin typeface="Arial" panose="020B0604020202020204" pitchFamily="34" charset="0"/>
                <a:ea typeface="微软雅黑" panose="020B0503020204020204" charset="-122"/>
              </a:defRPr>
            </a:lvl9pPr>
          </a:lstStyle>
          <a:p>
            <a:pPr algn="r"/>
            <a:r>
              <a:rPr lang="zh-CN" altLang="en-US" sz="7200" b="1" dirty="0">
                <a:latin typeface="等线 Light" panose="02010600030101010101" pitchFamily="2" charset="-122"/>
                <a:ea typeface="等线 Light" panose="02010600030101010101" pitchFamily="2" charset="-122"/>
              </a:rPr>
              <a:t>产品发布</a:t>
            </a:r>
            <a:r>
              <a:rPr lang="en-US" altLang="zh-CN" sz="7200" b="1" dirty="0">
                <a:latin typeface="等线 Light" panose="02010600030101010101" pitchFamily="2" charset="-122"/>
                <a:ea typeface="等线 Light" panose="02010600030101010101" pitchFamily="2" charset="-122"/>
              </a:rPr>
              <a:t>PPT</a:t>
            </a:r>
            <a:r>
              <a:rPr lang="zh-CN" altLang="en-US" sz="7200" b="1" dirty="0">
                <a:latin typeface="等线 Light" panose="02010600030101010101" pitchFamily="2" charset="-122"/>
                <a:ea typeface="等线 Light" panose="02010600030101010101" pitchFamily="2" charset="-122"/>
              </a:rPr>
              <a:t>模板</a:t>
            </a:r>
          </a:p>
        </p:txBody>
      </p:sp>
      <p:cxnSp>
        <p:nvCxnSpPr>
          <p:cNvPr id="5" name="直接连接符 4"/>
          <p:cNvCxnSpPr/>
          <p:nvPr/>
        </p:nvCxnSpPr>
        <p:spPr>
          <a:xfrm>
            <a:off x="2201812" y="4309602"/>
            <a:ext cx="75247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4792047" y="4505061"/>
            <a:ext cx="3185487" cy="830997"/>
          </a:xfrm>
          <a:prstGeom prst="rect">
            <a:avLst/>
          </a:prstGeom>
          <a:noFill/>
        </p:spPr>
        <p:txBody>
          <a:bodyPr wrap="none" rtlCol="0">
            <a:spAutoFit/>
          </a:bodyPr>
          <a:lstStyle/>
          <a:p>
            <a:r>
              <a:rPr lang="zh-CN" altLang="en-US" sz="2400" dirty="0" smtClean="0">
                <a:solidFill>
                  <a:schemeClr val="bg1"/>
                </a:solidFill>
                <a:latin typeface="等线 Light" panose="02010600030101010101" pitchFamily="2" charset="-122"/>
                <a:ea typeface="等线 Light" panose="02010600030101010101" pitchFamily="2" charset="-122"/>
              </a:rPr>
              <a:t>汇报人：千库网</a:t>
            </a:r>
            <a:endParaRPr lang="en-US" altLang="zh-CN" sz="2400" dirty="0" smtClean="0">
              <a:solidFill>
                <a:schemeClr val="bg1"/>
              </a:solidFill>
              <a:latin typeface="等线 Light" panose="02010600030101010101" pitchFamily="2" charset="-122"/>
              <a:ea typeface="等线 Light" panose="02010600030101010101" pitchFamily="2" charset="-122"/>
            </a:endParaRPr>
          </a:p>
          <a:p>
            <a:r>
              <a:rPr lang="zh-CN" altLang="en-US" sz="2400" dirty="0" smtClean="0">
                <a:solidFill>
                  <a:schemeClr val="bg1"/>
                </a:solidFill>
                <a:latin typeface="等线 Light" panose="02010600030101010101" pitchFamily="2" charset="-122"/>
                <a:ea typeface="等线 Light" panose="02010600030101010101" pitchFamily="2" charset="-122"/>
              </a:rPr>
              <a:t>汇报时间：</a:t>
            </a:r>
            <a:r>
              <a:rPr lang="en-US" altLang="zh-CN" sz="2400" dirty="0" smtClean="0">
                <a:solidFill>
                  <a:schemeClr val="bg1"/>
                </a:solidFill>
                <a:latin typeface="等线 Light" panose="02010600030101010101" pitchFamily="2" charset="-122"/>
                <a:ea typeface="等线 Light" panose="02010600030101010101" pitchFamily="2" charset="-122"/>
              </a:rPr>
              <a:t>XX</a:t>
            </a:r>
            <a:r>
              <a:rPr lang="zh-CN" altLang="en-US" sz="2400" dirty="0" smtClean="0">
                <a:solidFill>
                  <a:schemeClr val="bg1"/>
                </a:solidFill>
                <a:latin typeface="等线 Light" panose="02010600030101010101" pitchFamily="2" charset="-122"/>
                <a:ea typeface="等线 Light" panose="02010600030101010101" pitchFamily="2" charset="-122"/>
              </a:rPr>
              <a:t>年</a:t>
            </a:r>
            <a:r>
              <a:rPr lang="en-US" altLang="zh-CN" sz="2400" dirty="0" smtClean="0">
                <a:solidFill>
                  <a:schemeClr val="bg1"/>
                </a:solidFill>
                <a:latin typeface="等线 Light" panose="02010600030101010101" pitchFamily="2" charset="-122"/>
                <a:ea typeface="等线 Light" panose="02010600030101010101" pitchFamily="2" charset="-122"/>
              </a:rPr>
              <a:t>XX</a:t>
            </a:r>
            <a:r>
              <a:rPr lang="zh-CN" altLang="en-US" sz="2400" dirty="0" smtClean="0">
                <a:solidFill>
                  <a:schemeClr val="bg1"/>
                </a:solidFill>
                <a:latin typeface="等线 Light" panose="02010600030101010101" pitchFamily="2" charset="-122"/>
                <a:ea typeface="等线 Light" panose="02010600030101010101" pitchFamily="2" charset="-122"/>
              </a:rPr>
              <a:t>月</a:t>
            </a:r>
            <a:endParaRPr lang="zh-CN" altLang="en-US" sz="2400" dirty="0">
              <a:solidFill>
                <a:schemeClr val="bg1"/>
              </a:solidFill>
              <a:latin typeface="等线 Light" panose="02010600030101010101" pitchFamily="2" charset="-122"/>
              <a:ea typeface="等线 Light" panose="02010600030101010101" pitchFamily="2" charset="-122"/>
            </a:endParaRPr>
          </a:p>
        </p:txBody>
      </p:sp>
      <p:sp>
        <p:nvSpPr>
          <p:cNvPr id="4" name="文本框 3"/>
          <p:cNvSpPr txBox="1"/>
          <p:nvPr/>
        </p:nvSpPr>
        <p:spPr>
          <a:xfrm>
            <a:off x="4792047" y="841524"/>
            <a:ext cx="3871580" cy="1200329"/>
          </a:xfrm>
          <a:prstGeom prst="rect">
            <a:avLst/>
          </a:prstGeom>
          <a:noFill/>
        </p:spPr>
        <p:txBody>
          <a:bodyPr wrap="square" rtlCol="0">
            <a:spAutoFit/>
          </a:bodyPr>
          <a:lstStyle/>
          <a:p>
            <a:r>
              <a:rPr lang="en-US" altLang="zh-CN" sz="7200" dirty="0">
                <a:solidFill>
                  <a:schemeClr val="bg1"/>
                </a:solidFill>
                <a:latin typeface="等线 Light" panose="02010600030101010101" pitchFamily="2" charset="-122"/>
                <a:ea typeface="等线 Light" panose="02010600030101010101" pitchFamily="2" charset="-122"/>
              </a:rPr>
              <a:t>logo</a:t>
            </a:r>
            <a:endParaRPr lang="zh-CN" altLang="en-US" sz="7200" dirty="0">
              <a:solidFill>
                <a:schemeClr val="bg1"/>
              </a:solidFill>
              <a:latin typeface="等线 Light" panose="02010600030101010101" pitchFamily="2" charset="-122"/>
              <a:ea typeface="等线 Light" panose="02010600030101010101" pitchFamily="2" charset="-122"/>
            </a:endParaRPr>
          </a:p>
        </p:txBody>
      </p:sp>
      <p:pic>
        <p:nvPicPr>
          <p:cNvPr id="3" name="音频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1932336144"/>
      </p:ext>
    </p:extLst>
  </p:cSld>
  <p:clrMapOvr>
    <a:masterClrMapping/>
  </p:clrMapOvr>
  <mc:AlternateContent xmlns:mc="http://schemas.openxmlformats.org/markup-compatibility/2006" xmlns:p14="http://schemas.microsoft.com/office/powerpoint/2010/main">
    <mc:Choice Requires="p14">
      <p:transition spd="slow" p14:dur="4000" advTm="3887">
        <p14:vortex dir="r"/>
      </p:transition>
    </mc:Choice>
    <mc:Fallback xmlns="">
      <p:transition spd="slow" advTm="38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par>
                          <p:cTn id="7" fill="hold">
                            <p:stCondLst>
                              <p:cond delay="0"/>
                            </p:stCondLst>
                            <p:childTnLst>
                              <p:par>
                                <p:cTn id="8" presetID="41" presetClass="entr" presetSubtype="0" fill="hold" grpId="0" nodeType="afterEffect">
                                  <p:stCondLst>
                                    <p:cond delay="0"/>
                                  </p:stCondLst>
                                  <p:iterate type="lt">
                                    <p:tmPct val="10000"/>
                                  </p:iterate>
                                  <p:childTnLst>
                                    <p:set>
                                      <p:cBhvr>
                                        <p:cTn id="9" dur="1" fill="hold">
                                          <p:stCondLst>
                                            <p:cond delay="0"/>
                                          </p:stCondLst>
                                        </p:cTn>
                                        <p:tgtEl>
                                          <p:spTgt spid="9"/>
                                        </p:tgtEl>
                                        <p:attrNameLst>
                                          <p:attrName>style.visibility</p:attrName>
                                        </p:attrNameLst>
                                      </p:cBhvr>
                                      <p:to>
                                        <p:strVal val="visible"/>
                                      </p:to>
                                    </p:set>
                                    <p:anim calcmode="lin" valueType="num">
                                      <p:cBhvr>
                                        <p:cTn id="10" dur="500" fill="hold"/>
                                        <p:tgtEl>
                                          <p:spTgt spid="9"/>
                                        </p:tgtEl>
                                        <p:attrNameLst>
                                          <p:attrName>ppt_x</p:attrName>
                                        </p:attrNameLst>
                                      </p:cBhvr>
                                      <p:tavLst>
                                        <p:tav tm="0">
                                          <p:val>
                                            <p:strVal val="#ppt_x"/>
                                          </p:val>
                                        </p:tav>
                                        <p:tav tm="50000">
                                          <p:val>
                                            <p:strVal val="#ppt_x+.1"/>
                                          </p:val>
                                        </p:tav>
                                        <p:tav tm="100000">
                                          <p:val>
                                            <p:strVal val="#ppt_x"/>
                                          </p:val>
                                        </p:tav>
                                      </p:tavLst>
                                    </p:anim>
                                    <p:anim calcmode="lin" valueType="num">
                                      <p:cBhvr>
                                        <p:cTn id="11" dur="500" fill="hold"/>
                                        <p:tgtEl>
                                          <p:spTgt spid="9"/>
                                        </p:tgtEl>
                                        <p:attrNameLst>
                                          <p:attrName>ppt_y</p:attrName>
                                        </p:attrNameLst>
                                      </p:cBhvr>
                                      <p:tavLst>
                                        <p:tav tm="0">
                                          <p:val>
                                            <p:strVal val="#ppt_y"/>
                                          </p:val>
                                        </p:tav>
                                        <p:tav tm="100000">
                                          <p:val>
                                            <p:strVal val="#ppt_y"/>
                                          </p:val>
                                        </p:tav>
                                      </p:tavLst>
                                    </p:anim>
                                    <p:anim calcmode="lin" valueType="num">
                                      <p:cBhvr>
                                        <p:cTn id="12" dur="500" fill="hold"/>
                                        <p:tgtEl>
                                          <p:spTgt spid="9"/>
                                        </p:tgtEl>
                                        <p:attrNameLst>
                                          <p:attrName>ppt_h</p:attrName>
                                        </p:attrNameLst>
                                      </p:cBhvr>
                                      <p:tavLst>
                                        <p:tav tm="0">
                                          <p:val>
                                            <p:strVal val="#ppt_h/10"/>
                                          </p:val>
                                        </p:tav>
                                        <p:tav tm="50000">
                                          <p:val>
                                            <p:strVal val="#ppt_h+.01"/>
                                          </p:val>
                                        </p:tav>
                                        <p:tav tm="100000">
                                          <p:val>
                                            <p:strVal val="#ppt_h"/>
                                          </p:val>
                                        </p:tav>
                                      </p:tavLst>
                                    </p:anim>
                                    <p:anim calcmode="lin" valueType="num">
                                      <p:cBhvr>
                                        <p:cTn id="13" dur="500" fill="hold"/>
                                        <p:tgtEl>
                                          <p:spTgt spid="9"/>
                                        </p:tgtEl>
                                        <p:attrNameLst>
                                          <p:attrName>ppt_w</p:attrName>
                                        </p:attrNameLst>
                                      </p:cBhvr>
                                      <p:tavLst>
                                        <p:tav tm="0">
                                          <p:val>
                                            <p:strVal val="#ppt_w/10"/>
                                          </p:val>
                                        </p:tav>
                                        <p:tav tm="50000">
                                          <p:val>
                                            <p:strVal val="#ppt_w+.01"/>
                                          </p:val>
                                        </p:tav>
                                        <p:tav tm="100000">
                                          <p:val>
                                            <p:strVal val="#ppt_w"/>
                                          </p:val>
                                        </p:tav>
                                      </p:tavLst>
                                    </p:anim>
                                    <p:animEffect transition="in" filter="fade">
                                      <p:cBhvr>
                                        <p:cTn id="14" dur="500" tmFilter="0,0; .5, 1; 1, 1"/>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37"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barn(outVertical)">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1000"/>
                                        <p:tgtEl>
                                          <p:spTgt spid="6"/>
                                        </p:tgtEl>
                                      </p:cBhvr>
                                    </p:animEffect>
                                    <p:anim calcmode="lin" valueType="num">
                                      <p:cBhvr>
                                        <p:cTn id="25" dur="1000" fill="hold"/>
                                        <p:tgtEl>
                                          <p:spTgt spid="6"/>
                                        </p:tgtEl>
                                        <p:attrNameLst>
                                          <p:attrName>ppt_x</p:attrName>
                                        </p:attrNameLst>
                                      </p:cBhvr>
                                      <p:tavLst>
                                        <p:tav tm="0">
                                          <p:val>
                                            <p:strVal val="#ppt_x"/>
                                          </p:val>
                                        </p:tav>
                                        <p:tav tm="100000">
                                          <p:val>
                                            <p:strVal val="#ppt_x"/>
                                          </p:val>
                                        </p:tav>
                                      </p:tavLst>
                                    </p:anim>
                                    <p:anim calcmode="lin" valueType="num">
                                      <p:cBhvr>
                                        <p:cTn id="2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7" fill="hold" display="0">
                  <p:stCondLst>
                    <p:cond delay="indefinite"/>
                  </p:stCondLst>
                  <p:endCondLst>
                    <p:cond evt="onStopAudio" delay="0">
                      <p:tgtEl>
                        <p:sldTgt/>
                      </p:tgtEl>
                    </p:cond>
                  </p:endCondLst>
                </p:cTn>
                <p:tgtEl>
                  <p:spTgt spid="3"/>
                </p:tgtEl>
              </p:cMediaNode>
            </p:audio>
          </p:childTnLst>
        </p:cTn>
      </p:par>
    </p:tnLst>
    <p:bldLst>
      <p:bldP spid="9" grpId="0" bldLvl="0"/>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100000">
              <a:schemeClr val="tx1"/>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grpSp>
        <p:nvGrpSpPr>
          <p:cNvPr id="41" name="组合 4"/>
          <p:cNvGrpSpPr>
            <a:grpSpLocks/>
          </p:cNvGrpSpPr>
          <p:nvPr/>
        </p:nvGrpSpPr>
        <p:grpSpPr bwMode="auto">
          <a:xfrm>
            <a:off x="2184681" y="2494366"/>
            <a:ext cx="1604963" cy="1417638"/>
            <a:chOff x="0" y="0"/>
            <a:chExt cx="1604963" cy="1417638"/>
          </a:xfrm>
          <a:solidFill>
            <a:schemeClr val="accent1">
              <a:lumMod val="50000"/>
            </a:schemeClr>
          </a:solidFill>
        </p:grpSpPr>
        <p:sp>
          <p:nvSpPr>
            <p:cNvPr id="42" name="Freeform 199"/>
            <p:cNvSpPr>
              <a:spLocks noChangeArrowheads="1"/>
            </p:cNvSpPr>
            <p:nvPr/>
          </p:nvSpPr>
          <p:spPr bwMode="auto">
            <a:xfrm>
              <a:off x="195263" y="1174751"/>
              <a:ext cx="201613" cy="190500"/>
            </a:xfrm>
            <a:custGeom>
              <a:avLst/>
              <a:gdLst>
                <a:gd name="T0" fmla="*/ 187612 w 72"/>
                <a:gd name="T1" fmla="*/ 0 h 68"/>
                <a:gd name="T2" fmla="*/ 0 w 72"/>
                <a:gd name="T3" fmla="*/ 159684 h 68"/>
                <a:gd name="T4" fmla="*/ 33602 w 72"/>
                <a:gd name="T5" fmla="*/ 190500 h 68"/>
                <a:gd name="T6" fmla="*/ 201613 w 72"/>
                <a:gd name="T7" fmla="*/ 14007 h 68"/>
                <a:gd name="T8" fmla="*/ 187612 w 72"/>
                <a:gd name="T9" fmla="*/ 0 h 68"/>
                <a:gd name="T10" fmla="*/ 0 60000 65536"/>
                <a:gd name="T11" fmla="*/ 0 60000 65536"/>
                <a:gd name="T12" fmla="*/ 0 60000 65536"/>
                <a:gd name="T13" fmla="*/ 0 60000 65536"/>
                <a:gd name="T14" fmla="*/ 0 60000 65536"/>
                <a:gd name="T15" fmla="*/ 0 w 72"/>
                <a:gd name="T16" fmla="*/ 0 h 68"/>
                <a:gd name="T17" fmla="*/ 72 w 72"/>
                <a:gd name="T18" fmla="*/ 68 h 68"/>
              </a:gdLst>
              <a:ahLst/>
              <a:cxnLst>
                <a:cxn ang="T10">
                  <a:pos x="T0" y="T1"/>
                </a:cxn>
                <a:cxn ang="T11">
                  <a:pos x="T2" y="T3"/>
                </a:cxn>
                <a:cxn ang="T12">
                  <a:pos x="T4" y="T5"/>
                </a:cxn>
                <a:cxn ang="T13">
                  <a:pos x="T6" y="T7"/>
                </a:cxn>
                <a:cxn ang="T14">
                  <a:pos x="T8" y="T9"/>
                </a:cxn>
              </a:cxnLst>
              <a:rect l="T15" t="T16" r="T17" b="T18"/>
              <a:pathLst>
                <a:path w="72" h="68">
                  <a:moveTo>
                    <a:pt x="67" y="0"/>
                  </a:moveTo>
                  <a:cubicBezTo>
                    <a:pt x="0" y="57"/>
                    <a:pt x="0" y="57"/>
                    <a:pt x="0" y="57"/>
                  </a:cubicBezTo>
                  <a:cubicBezTo>
                    <a:pt x="5" y="62"/>
                    <a:pt x="7" y="63"/>
                    <a:pt x="12" y="68"/>
                  </a:cubicBezTo>
                  <a:cubicBezTo>
                    <a:pt x="72" y="5"/>
                    <a:pt x="72" y="5"/>
                    <a:pt x="72" y="5"/>
                  </a:cubicBezTo>
                  <a:cubicBezTo>
                    <a:pt x="68" y="2"/>
                    <a:pt x="70" y="3"/>
                    <a:pt x="67"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dirty="0">
                <a:solidFill>
                  <a:schemeClr val="accent1"/>
                </a:solidFill>
              </a:endParaRPr>
            </a:p>
          </p:txBody>
        </p:sp>
        <p:sp>
          <p:nvSpPr>
            <p:cNvPr id="60" name="Freeform 200"/>
            <p:cNvSpPr>
              <a:spLocks noChangeArrowheads="1"/>
            </p:cNvSpPr>
            <p:nvPr/>
          </p:nvSpPr>
          <p:spPr bwMode="auto">
            <a:xfrm>
              <a:off x="239713" y="1206501"/>
              <a:ext cx="182563" cy="196850"/>
            </a:xfrm>
            <a:custGeom>
              <a:avLst/>
              <a:gdLst>
                <a:gd name="T0" fmla="*/ 174137 w 65"/>
                <a:gd name="T1" fmla="*/ 0 h 71"/>
                <a:gd name="T2" fmla="*/ 0 w 65"/>
                <a:gd name="T3" fmla="*/ 171897 h 71"/>
                <a:gd name="T4" fmla="*/ 28087 w 65"/>
                <a:gd name="T5" fmla="*/ 196850 h 71"/>
                <a:gd name="T6" fmla="*/ 182563 w 65"/>
                <a:gd name="T7" fmla="*/ 13863 h 71"/>
                <a:gd name="T8" fmla="*/ 174137 w 65"/>
                <a:gd name="T9" fmla="*/ 0 h 71"/>
                <a:gd name="T10" fmla="*/ 0 60000 65536"/>
                <a:gd name="T11" fmla="*/ 0 60000 65536"/>
                <a:gd name="T12" fmla="*/ 0 60000 65536"/>
                <a:gd name="T13" fmla="*/ 0 60000 65536"/>
                <a:gd name="T14" fmla="*/ 0 60000 65536"/>
                <a:gd name="T15" fmla="*/ 0 w 65"/>
                <a:gd name="T16" fmla="*/ 0 h 71"/>
                <a:gd name="T17" fmla="*/ 65 w 65"/>
                <a:gd name="T18" fmla="*/ 71 h 71"/>
              </a:gdLst>
              <a:ahLst/>
              <a:cxnLst>
                <a:cxn ang="T10">
                  <a:pos x="T0" y="T1"/>
                </a:cxn>
                <a:cxn ang="T11">
                  <a:pos x="T2" y="T3"/>
                </a:cxn>
                <a:cxn ang="T12">
                  <a:pos x="T4" y="T5"/>
                </a:cxn>
                <a:cxn ang="T13">
                  <a:pos x="T6" y="T7"/>
                </a:cxn>
                <a:cxn ang="T14">
                  <a:pos x="T8" y="T9"/>
                </a:cxn>
              </a:cxnLst>
              <a:rect l="T15" t="T16" r="T17" b="T18"/>
              <a:pathLst>
                <a:path w="65" h="71">
                  <a:moveTo>
                    <a:pt x="62" y="0"/>
                  </a:moveTo>
                  <a:cubicBezTo>
                    <a:pt x="0" y="62"/>
                    <a:pt x="0" y="62"/>
                    <a:pt x="0" y="62"/>
                  </a:cubicBezTo>
                  <a:cubicBezTo>
                    <a:pt x="5" y="66"/>
                    <a:pt x="5" y="67"/>
                    <a:pt x="10" y="71"/>
                  </a:cubicBezTo>
                  <a:cubicBezTo>
                    <a:pt x="65" y="5"/>
                    <a:pt x="65" y="5"/>
                    <a:pt x="65" y="5"/>
                  </a:cubicBezTo>
                  <a:cubicBezTo>
                    <a:pt x="63" y="2"/>
                    <a:pt x="65" y="4"/>
                    <a:pt x="62"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1" name="Freeform 201"/>
            <p:cNvSpPr>
              <a:spLocks noChangeArrowheads="1"/>
            </p:cNvSpPr>
            <p:nvPr/>
          </p:nvSpPr>
          <p:spPr bwMode="auto">
            <a:xfrm>
              <a:off x="136525" y="1133476"/>
              <a:ext cx="230188" cy="176213"/>
            </a:xfrm>
            <a:custGeom>
              <a:avLst/>
              <a:gdLst>
                <a:gd name="T0" fmla="*/ 210538 w 82"/>
                <a:gd name="T1" fmla="*/ 0 h 63"/>
                <a:gd name="T2" fmla="*/ 0 w 82"/>
                <a:gd name="T3" fmla="*/ 123069 h 63"/>
                <a:gd name="T4" fmla="*/ 42108 w 82"/>
                <a:gd name="T5" fmla="*/ 176213 h 63"/>
                <a:gd name="T6" fmla="*/ 230188 w 82"/>
                <a:gd name="T7" fmla="*/ 19579 h 63"/>
                <a:gd name="T8" fmla="*/ 210538 w 82"/>
                <a:gd name="T9" fmla="*/ 0 h 63"/>
                <a:gd name="T10" fmla="*/ 0 60000 65536"/>
                <a:gd name="T11" fmla="*/ 0 60000 65536"/>
                <a:gd name="T12" fmla="*/ 0 60000 65536"/>
                <a:gd name="T13" fmla="*/ 0 60000 65536"/>
                <a:gd name="T14" fmla="*/ 0 60000 65536"/>
                <a:gd name="T15" fmla="*/ 0 w 82"/>
                <a:gd name="T16" fmla="*/ 0 h 63"/>
                <a:gd name="T17" fmla="*/ 82 w 82"/>
                <a:gd name="T18" fmla="*/ 63 h 63"/>
              </a:gdLst>
              <a:ahLst/>
              <a:cxnLst>
                <a:cxn ang="T10">
                  <a:pos x="T0" y="T1"/>
                </a:cxn>
                <a:cxn ang="T11">
                  <a:pos x="T2" y="T3"/>
                </a:cxn>
                <a:cxn ang="T12">
                  <a:pos x="T4" y="T5"/>
                </a:cxn>
                <a:cxn ang="T13">
                  <a:pos x="T6" y="T7"/>
                </a:cxn>
                <a:cxn ang="T14">
                  <a:pos x="T8" y="T9"/>
                </a:cxn>
              </a:cxnLst>
              <a:rect l="T15" t="T16" r="T17" b="T18"/>
              <a:pathLst>
                <a:path w="82" h="63">
                  <a:moveTo>
                    <a:pt x="75" y="0"/>
                  </a:moveTo>
                  <a:cubicBezTo>
                    <a:pt x="0" y="44"/>
                    <a:pt x="0" y="44"/>
                    <a:pt x="0" y="44"/>
                  </a:cubicBezTo>
                  <a:cubicBezTo>
                    <a:pt x="7" y="54"/>
                    <a:pt x="7" y="54"/>
                    <a:pt x="15" y="63"/>
                  </a:cubicBezTo>
                  <a:cubicBezTo>
                    <a:pt x="82" y="7"/>
                    <a:pt x="82" y="7"/>
                    <a:pt x="82" y="7"/>
                  </a:cubicBezTo>
                  <a:cubicBezTo>
                    <a:pt x="77" y="2"/>
                    <a:pt x="79" y="5"/>
                    <a:pt x="75"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2" name="Freeform 202"/>
            <p:cNvSpPr>
              <a:spLocks noChangeArrowheads="1"/>
            </p:cNvSpPr>
            <p:nvPr/>
          </p:nvSpPr>
          <p:spPr bwMode="auto">
            <a:xfrm>
              <a:off x="87313" y="1085851"/>
              <a:ext cx="247650" cy="147638"/>
            </a:xfrm>
            <a:custGeom>
              <a:avLst/>
              <a:gdLst>
                <a:gd name="T0" fmla="*/ 228172 w 89"/>
                <a:gd name="T1" fmla="*/ 0 h 53"/>
                <a:gd name="T2" fmla="*/ 0 w 89"/>
                <a:gd name="T3" fmla="*/ 86354 h 53"/>
                <a:gd name="T4" fmla="*/ 36174 w 89"/>
                <a:gd name="T5" fmla="*/ 147638 h 53"/>
                <a:gd name="T6" fmla="*/ 247650 w 89"/>
                <a:gd name="T7" fmla="*/ 27856 h 53"/>
                <a:gd name="T8" fmla="*/ 228172 w 89"/>
                <a:gd name="T9" fmla="*/ 0 h 53"/>
                <a:gd name="T10" fmla="*/ 0 60000 65536"/>
                <a:gd name="T11" fmla="*/ 0 60000 65536"/>
                <a:gd name="T12" fmla="*/ 0 60000 65536"/>
                <a:gd name="T13" fmla="*/ 0 60000 65536"/>
                <a:gd name="T14" fmla="*/ 0 60000 65536"/>
                <a:gd name="T15" fmla="*/ 0 w 89"/>
                <a:gd name="T16" fmla="*/ 0 h 53"/>
                <a:gd name="T17" fmla="*/ 89 w 89"/>
                <a:gd name="T18" fmla="*/ 53 h 53"/>
              </a:gdLst>
              <a:ahLst/>
              <a:cxnLst>
                <a:cxn ang="T10">
                  <a:pos x="T0" y="T1"/>
                </a:cxn>
                <a:cxn ang="T11">
                  <a:pos x="T2" y="T3"/>
                </a:cxn>
                <a:cxn ang="T12">
                  <a:pos x="T4" y="T5"/>
                </a:cxn>
                <a:cxn ang="T13">
                  <a:pos x="T6" y="T7"/>
                </a:cxn>
                <a:cxn ang="T14">
                  <a:pos x="T8" y="T9"/>
                </a:cxn>
              </a:cxnLst>
              <a:rect l="T15" t="T16" r="T17" b="T18"/>
              <a:pathLst>
                <a:path w="89" h="53">
                  <a:moveTo>
                    <a:pt x="82" y="0"/>
                  </a:moveTo>
                  <a:cubicBezTo>
                    <a:pt x="0" y="31"/>
                    <a:pt x="0" y="31"/>
                    <a:pt x="0" y="31"/>
                  </a:cubicBezTo>
                  <a:cubicBezTo>
                    <a:pt x="5" y="40"/>
                    <a:pt x="7" y="45"/>
                    <a:pt x="13" y="53"/>
                  </a:cubicBezTo>
                  <a:cubicBezTo>
                    <a:pt x="89" y="10"/>
                    <a:pt x="89" y="10"/>
                    <a:pt x="89" y="10"/>
                  </a:cubicBezTo>
                  <a:cubicBezTo>
                    <a:pt x="86" y="5"/>
                    <a:pt x="85" y="5"/>
                    <a:pt x="82"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3" name="Freeform 203"/>
            <p:cNvSpPr>
              <a:spLocks noChangeArrowheads="1"/>
            </p:cNvSpPr>
            <p:nvPr/>
          </p:nvSpPr>
          <p:spPr bwMode="auto">
            <a:xfrm>
              <a:off x="44450" y="1041401"/>
              <a:ext cx="263525" cy="111125"/>
            </a:xfrm>
            <a:custGeom>
              <a:avLst/>
              <a:gdLst>
                <a:gd name="T0" fmla="*/ 249508 w 94"/>
                <a:gd name="T1" fmla="*/ 0 h 40"/>
                <a:gd name="T2" fmla="*/ 0 w 94"/>
                <a:gd name="T3" fmla="*/ 30559 h 40"/>
                <a:gd name="T4" fmla="*/ 33641 w 94"/>
                <a:gd name="T5" fmla="*/ 111125 h 40"/>
                <a:gd name="T6" fmla="*/ 263525 w 94"/>
                <a:gd name="T7" fmla="*/ 25003 h 40"/>
                <a:gd name="T8" fmla="*/ 249508 w 94"/>
                <a:gd name="T9" fmla="*/ 0 h 40"/>
                <a:gd name="T10" fmla="*/ 0 60000 65536"/>
                <a:gd name="T11" fmla="*/ 0 60000 65536"/>
                <a:gd name="T12" fmla="*/ 0 60000 65536"/>
                <a:gd name="T13" fmla="*/ 0 60000 65536"/>
                <a:gd name="T14" fmla="*/ 0 60000 65536"/>
                <a:gd name="T15" fmla="*/ 0 w 94"/>
                <a:gd name="T16" fmla="*/ 0 h 40"/>
                <a:gd name="T17" fmla="*/ 94 w 94"/>
                <a:gd name="T18" fmla="*/ 40 h 40"/>
              </a:gdLst>
              <a:ahLst/>
              <a:cxnLst>
                <a:cxn ang="T10">
                  <a:pos x="T0" y="T1"/>
                </a:cxn>
                <a:cxn ang="T11">
                  <a:pos x="T2" y="T3"/>
                </a:cxn>
                <a:cxn ang="T12">
                  <a:pos x="T4" y="T5"/>
                </a:cxn>
                <a:cxn ang="T13">
                  <a:pos x="T6" y="T7"/>
                </a:cxn>
                <a:cxn ang="T14">
                  <a:pos x="T8" y="T9"/>
                </a:cxn>
              </a:cxnLst>
              <a:rect l="T15" t="T16" r="T17" b="T18"/>
              <a:pathLst>
                <a:path w="94" h="40">
                  <a:moveTo>
                    <a:pt x="89" y="0"/>
                  </a:moveTo>
                  <a:cubicBezTo>
                    <a:pt x="0" y="11"/>
                    <a:pt x="0" y="11"/>
                    <a:pt x="0" y="11"/>
                  </a:cubicBezTo>
                  <a:cubicBezTo>
                    <a:pt x="4" y="24"/>
                    <a:pt x="6" y="28"/>
                    <a:pt x="12" y="40"/>
                  </a:cubicBezTo>
                  <a:cubicBezTo>
                    <a:pt x="94" y="9"/>
                    <a:pt x="94" y="9"/>
                    <a:pt x="94" y="9"/>
                  </a:cubicBezTo>
                  <a:cubicBezTo>
                    <a:pt x="90" y="2"/>
                    <a:pt x="92" y="6"/>
                    <a:pt x="89"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4" name="Freeform 204"/>
            <p:cNvSpPr>
              <a:spLocks noChangeArrowheads="1"/>
            </p:cNvSpPr>
            <p:nvPr/>
          </p:nvSpPr>
          <p:spPr bwMode="auto">
            <a:xfrm>
              <a:off x="1195388" y="1184276"/>
              <a:ext cx="195263" cy="195263"/>
            </a:xfrm>
            <a:custGeom>
              <a:avLst/>
              <a:gdLst>
                <a:gd name="T0" fmla="*/ 0 w 70"/>
                <a:gd name="T1" fmla="*/ 16737 h 70"/>
                <a:gd name="T2" fmla="*/ 161789 w 70"/>
                <a:gd name="T3" fmla="*/ 195263 h 70"/>
                <a:gd name="T4" fmla="*/ 195263 w 70"/>
                <a:gd name="T5" fmla="*/ 164579 h 70"/>
                <a:gd name="T6" fmla="*/ 13947 w 70"/>
                <a:gd name="T7" fmla="*/ 0 h 70"/>
                <a:gd name="T8" fmla="*/ 0 w 70"/>
                <a:gd name="T9" fmla="*/ 16737 h 70"/>
                <a:gd name="T10" fmla="*/ 0 60000 65536"/>
                <a:gd name="T11" fmla="*/ 0 60000 65536"/>
                <a:gd name="T12" fmla="*/ 0 60000 65536"/>
                <a:gd name="T13" fmla="*/ 0 60000 65536"/>
                <a:gd name="T14" fmla="*/ 0 60000 65536"/>
                <a:gd name="T15" fmla="*/ 0 w 70"/>
                <a:gd name="T16" fmla="*/ 0 h 70"/>
                <a:gd name="T17" fmla="*/ 70 w 70"/>
                <a:gd name="T18" fmla="*/ 70 h 70"/>
              </a:gdLst>
              <a:ahLst/>
              <a:cxnLst>
                <a:cxn ang="T10">
                  <a:pos x="T0" y="T1"/>
                </a:cxn>
                <a:cxn ang="T11">
                  <a:pos x="T2" y="T3"/>
                </a:cxn>
                <a:cxn ang="T12">
                  <a:pos x="T4" y="T5"/>
                </a:cxn>
                <a:cxn ang="T13">
                  <a:pos x="T6" y="T7"/>
                </a:cxn>
                <a:cxn ang="T14">
                  <a:pos x="T8" y="T9"/>
                </a:cxn>
              </a:cxnLst>
              <a:rect l="T15" t="T16" r="T17" b="T18"/>
              <a:pathLst>
                <a:path w="70" h="70">
                  <a:moveTo>
                    <a:pt x="0" y="6"/>
                  </a:moveTo>
                  <a:cubicBezTo>
                    <a:pt x="58" y="70"/>
                    <a:pt x="58" y="70"/>
                    <a:pt x="58" y="70"/>
                  </a:cubicBezTo>
                  <a:cubicBezTo>
                    <a:pt x="63" y="66"/>
                    <a:pt x="65" y="65"/>
                    <a:pt x="70" y="59"/>
                  </a:cubicBezTo>
                  <a:cubicBezTo>
                    <a:pt x="5" y="0"/>
                    <a:pt x="5" y="0"/>
                    <a:pt x="5" y="0"/>
                  </a:cubicBezTo>
                  <a:cubicBezTo>
                    <a:pt x="2" y="4"/>
                    <a:pt x="3" y="2"/>
                    <a:pt x="0" y="6"/>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5" name="Freeform 206"/>
            <p:cNvSpPr>
              <a:spLocks noChangeArrowheads="1"/>
            </p:cNvSpPr>
            <p:nvPr/>
          </p:nvSpPr>
          <p:spPr bwMode="auto">
            <a:xfrm>
              <a:off x="1166813" y="1217613"/>
              <a:ext cx="176213" cy="200025"/>
            </a:xfrm>
            <a:custGeom>
              <a:avLst/>
              <a:gdLst>
                <a:gd name="T0" fmla="*/ 0 w 63"/>
                <a:gd name="T1" fmla="*/ 11113 h 72"/>
                <a:gd name="T2" fmla="*/ 151040 w 63"/>
                <a:gd name="T3" fmla="*/ 200025 h 72"/>
                <a:gd name="T4" fmla="*/ 176213 w 63"/>
                <a:gd name="T5" fmla="*/ 175022 h 72"/>
                <a:gd name="T6" fmla="*/ 11188 w 63"/>
                <a:gd name="T7" fmla="*/ 0 h 72"/>
                <a:gd name="T8" fmla="*/ 0 w 63"/>
                <a:gd name="T9" fmla="*/ 11113 h 72"/>
                <a:gd name="T10" fmla="*/ 0 60000 65536"/>
                <a:gd name="T11" fmla="*/ 0 60000 65536"/>
                <a:gd name="T12" fmla="*/ 0 60000 65536"/>
                <a:gd name="T13" fmla="*/ 0 60000 65536"/>
                <a:gd name="T14" fmla="*/ 0 60000 65536"/>
                <a:gd name="T15" fmla="*/ 0 w 63"/>
                <a:gd name="T16" fmla="*/ 0 h 72"/>
                <a:gd name="T17" fmla="*/ 63 w 63"/>
                <a:gd name="T18" fmla="*/ 72 h 72"/>
              </a:gdLst>
              <a:ahLst/>
              <a:cxnLst>
                <a:cxn ang="T10">
                  <a:pos x="T0" y="T1"/>
                </a:cxn>
                <a:cxn ang="T11">
                  <a:pos x="T2" y="T3"/>
                </a:cxn>
                <a:cxn ang="T12">
                  <a:pos x="T4" y="T5"/>
                </a:cxn>
                <a:cxn ang="T13">
                  <a:pos x="T6" y="T7"/>
                </a:cxn>
                <a:cxn ang="T14">
                  <a:pos x="T8" y="T9"/>
                </a:cxn>
              </a:cxnLst>
              <a:rect l="T15" t="T16" r="T17" b="T18"/>
              <a:pathLst>
                <a:path w="63" h="72">
                  <a:moveTo>
                    <a:pt x="0" y="4"/>
                  </a:moveTo>
                  <a:cubicBezTo>
                    <a:pt x="54" y="72"/>
                    <a:pt x="54" y="72"/>
                    <a:pt x="54" y="72"/>
                  </a:cubicBezTo>
                  <a:cubicBezTo>
                    <a:pt x="59" y="68"/>
                    <a:pt x="59" y="67"/>
                    <a:pt x="63" y="63"/>
                  </a:cubicBezTo>
                  <a:cubicBezTo>
                    <a:pt x="4" y="0"/>
                    <a:pt x="4" y="0"/>
                    <a:pt x="4" y="0"/>
                  </a:cubicBezTo>
                  <a:cubicBezTo>
                    <a:pt x="1" y="3"/>
                    <a:pt x="3" y="1"/>
                    <a:pt x="0" y="4"/>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6" name="Freeform 207"/>
            <p:cNvSpPr>
              <a:spLocks noChangeArrowheads="1"/>
            </p:cNvSpPr>
            <p:nvPr/>
          </p:nvSpPr>
          <p:spPr bwMode="auto">
            <a:xfrm>
              <a:off x="1225550" y="1144588"/>
              <a:ext cx="223838" cy="180975"/>
            </a:xfrm>
            <a:custGeom>
              <a:avLst/>
              <a:gdLst>
                <a:gd name="T0" fmla="*/ 0 w 80"/>
                <a:gd name="T1" fmla="*/ 19490 h 65"/>
                <a:gd name="T2" fmla="*/ 184666 w 80"/>
                <a:gd name="T3" fmla="*/ 180975 h 65"/>
                <a:gd name="T4" fmla="*/ 223838 w 80"/>
                <a:gd name="T5" fmla="*/ 128075 h 65"/>
                <a:gd name="T6" fmla="*/ 19586 w 80"/>
                <a:gd name="T7" fmla="*/ 0 h 65"/>
                <a:gd name="T8" fmla="*/ 0 w 80"/>
                <a:gd name="T9" fmla="*/ 19490 h 65"/>
                <a:gd name="T10" fmla="*/ 0 60000 65536"/>
                <a:gd name="T11" fmla="*/ 0 60000 65536"/>
                <a:gd name="T12" fmla="*/ 0 60000 65536"/>
                <a:gd name="T13" fmla="*/ 0 60000 65536"/>
                <a:gd name="T14" fmla="*/ 0 60000 65536"/>
                <a:gd name="T15" fmla="*/ 0 w 80"/>
                <a:gd name="T16" fmla="*/ 0 h 65"/>
                <a:gd name="T17" fmla="*/ 80 w 80"/>
                <a:gd name="T18" fmla="*/ 65 h 65"/>
              </a:gdLst>
              <a:ahLst/>
              <a:cxnLst>
                <a:cxn ang="T10">
                  <a:pos x="T0" y="T1"/>
                </a:cxn>
                <a:cxn ang="T11">
                  <a:pos x="T2" y="T3"/>
                </a:cxn>
                <a:cxn ang="T12">
                  <a:pos x="T4" y="T5"/>
                </a:cxn>
                <a:cxn ang="T13">
                  <a:pos x="T6" y="T7"/>
                </a:cxn>
                <a:cxn ang="T14">
                  <a:pos x="T8" y="T9"/>
                </a:cxn>
              </a:cxnLst>
              <a:rect l="T15" t="T16" r="T17" b="T18"/>
              <a:pathLst>
                <a:path w="80" h="65">
                  <a:moveTo>
                    <a:pt x="0" y="7"/>
                  </a:moveTo>
                  <a:cubicBezTo>
                    <a:pt x="66" y="65"/>
                    <a:pt x="66" y="65"/>
                    <a:pt x="66" y="65"/>
                  </a:cubicBezTo>
                  <a:cubicBezTo>
                    <a:pt x="74" y="55"/>
                    <a:pt x="74" y="56"/>
                    <a:pt x="80" y="46"/>
                  </a:cubicBezTo>
                  <a:cubicBezTo>
                    <a:pt x="7" y="0"/>
                    <a:pt x="7" y="0"/>
                    <a:pt x="7" y="0"/>
                  </a:cubicBezTo>
                  <a:cubicBezTo>
                    <a:pt x="3" y="6"/>
                    <a:pt x="6" y="1"/>
                    <a:pt x="0" y="7"/>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7" name="Freeform 208"/>
            <p:cNvSpPr>
              <a:spLocks noChangeArrowheads="1"/>
            </p:cNvSpPr>
            <p:nvPr/>
          </p:nvSpPr>
          <p:spPr bwMode="auto">
            <a:xfrm>
              <a:off x="1258888" y="1096963"/>
              <a:ext cx="242888" cy="153988"/>
            </a:xfrm>
            <a:custGeom>
              <a:avLst/>
              <a:gdLst>
                <a:gd name="T0" fmla="*/ 0 w 87"/>
                <a:gd name="T1" fmla="*/ 27998 h 55"/>
                <a:gd name="T2" fmla="*/ 209386 w 87"/>
                <a:gd name="T3" fmla="*/ 153988 h 55"/>
                <a:gd name="T4" fmla="*/ 242888 w 87"/>
                <a:gd name="T5" fmla="*/ 92393 h 55"/>
                <a:gd name="T6" fmla="*/ 16751 w 87"/>
                <a:gd name="T7" fmla="*/ 0 h 55"/>
                <a:gd name="T8" fmla="*/ 0 w 87"/>
                <a:gd name="T9" fmla="*/ 27998 h 55"/>
                <a:gd name="T10" fmla="*/ 0 60000 65536"/>
                <a:gd name="T11" fmla="*/ 0 60000 65536"/>
                <a:gd name="T12" fmla="*/ 0 60000 65536"/>
                <a:gd name="T13" fmla="*/ 0 60000 65536"/>
                <a:gd name="T14" fmla="*/ 0 60000 65536"/>
                <a:gd name="T15" fmla="*/ 0 w 87"/>
                <a:gd name="T16" fmla="*/ 0 h 55"/>
                <a:gd name="T17" fmla="*/ 87 w 87"/>
                <a:gd name="T18" fmla="*/ 55 h 55"/>
              </a:gdLst>
              <a:ahLst/>
              <a:cxnLst>
                <a:cxn ang="T10">
                  <a:pos x="T0" y="T1"/>
                </a:cxn>
                <a:cxn ang="T11">
                  <a:pos x="T2" y="T3"/>
                </a:cxn>
                <a:cxn ang="T12">
                  <a:pos x="T4" y="T5"/>
                </a:cxn>
                <a:cxn ang="T13">
                  <a:pos x="T6" y="T7"/>
                </a:cxn>
                <a:cxn ang="T14">
                  <a:pos x="T8" y="T9"/>
                </a:cxn>
              </a:cxnLst>
              <a:rect l="T15" t="T16" r="T17" b="T18"/>
              <a:pathLst>
                <a:path w="87" h="55">
                  <a:moveTo>
                    <a:pt x="0" y="10"/>
                  </a:moveTo>
                  <a:cubicBezTo>
                    <a:pt x="75" y="55"/>
                    <a:pt x="75" y="55"/>
                    <a:pt x="75" y="55"/>
                  </a:cubicBezTo>
                  <a:cubicBezTo>
                    <a:pt x="80" y="47"/>
                    <a:pt x="83" y="42"/>
                    <a:pt x="87" y="33"/>
                  </a:cubicBezTo>
                  <a:cubicBezTo>
                    <a:pt x="6" y="0"/>
                    <a:pt x="6" y="0"/>
                    <a:pt x="6" y="0"/>
                  </a:cubicBezTo>
                  <a:cubicBezTo>
                    <a:pt x="4" y="5"/>
                    <a:pt x="3" y="5"/>
                    <a:pt x="0" y="1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8" name="Freeform 209"/>
            <p:cNvSpPr>
              <a:spLocks noChangeArrowheads="1"/>
            </p:cNvSpPr>
            <p:nvPr/>
          </p:nvSpPr>
          <p:spPr bwMode="auto">
            <a:xfrm>
              <a:off x="1287463" y="1052513"/>
              <a:ext cx="258763" cy="117475"/>
            </a:xfrm>
            <a:custGeom>
              <a:avLst/>
              <a:gdLst>
                <a:gd name="T0" fmla="*/ 0 w 93"/>
                <a:gd name="T1" fmla="*/ 25173 h 42"/>
                <a:gd name="T2" fmla="*/ 225374 w 93"/>
                <a:gd name="T3" fmla="*/ 117475 h 42"/>
                <a:gd name="T4" fmla="*/ 258763 w 93"/>
                <a:gd name="T5" fmla="*/ 36361 h 42"/>
                <a:gd name="T6" fmla="*/ 13912 w 93"/>
                <a:gd name="T7" fmla="*/ 0 h 42"/>
                <a:gd name="T8" fmla="*/ 0 w 93"/>
                <a:gd name="T9" fmla="*/ 25173 h 42"/>
                <a:gd name="T10" fmla="*/ 0 60000 65536"/>
                <a:gd name="T11" fmla="*/ 0 60000 65536"/>
                <a:gd name="T12" fmla="*/ 0 60000 65536"/>
                <a:gd name="T13" fmla="*/ 0 60000 65536"/>
                <a:gd name="T14" fmla="*/ 0 60000 65536"/>
                <a:gd name="T15" fmla="*/ 0 w 93"/>
                <a:gd name="T16" fmla="*/ 0 h 42"/>
                <a:gd name="T17" fmla="*/ 93 w 93"/>
                <a:gd name="T18" fmla="*/ 42 h 42"/>
              </a:gdLst>
              <a:ahLst/>
              <a:cxnLst>
                <a:cxn ang="T10">
                  <a:pos x="T0" y="T1"/>
                </a:cxn>
                <a:cxn ang="T11">
                  <a:pos x="T2" y="T3"/>
                </a:cxn>
                <a:cxn ang="T12">
                  <a:pos x="T4" y="T5"/>
                </a:cxn>
                <a:cxn ang="T13">
                  <a:pos x="T6" y="T7"/>
                </a:cxn>
                <a:cxn ang="T14">
                  <a:pos x="T8" y="T9"/>
                </a:cxn>
              </a:cxnLst>
              <a:rect l="T15" t="T16" r="T17" b="T18"/>
              <a:pathLst>
                <a:path w="93" h="42">
                  <a:moveTo>
                    <a:pt x="0" y="9"/>
                  </a:moveTo>
                  <a:cubicBezTo>
                    <a:pt x="81" y="42"/>
                    <a:pt x="81" y="42"/>
                    <a:pt x="81" y="42"/>
                  </a:cubicBezTo>
                  <a:cubicBezTo>
                    <a:pt x="88" y="30"/>
                    <a:pt x="89" y="27"/>
                    <a:pt x="93" y="13"/>
                  </a:cubicBezTo>
                  <a:cubicBezTo>
                    <a:pt x="5" y="0"/>
                    <a:pt x="5" y="0"/>
                    <a:pt x="5" y="0"/>
                  </a:cubicBezTo>
                  <a:cubicBezTo>
                    <a:pt x="3" y="7"/>
                    <a:pt x="4" y="3"/>
                    <a:pt x="0" y="9"/>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69" name="Freeform 210"/>
            <p:cNvSpPr>
              <a:spLocks noChangeArrowheads="1"/>
            </p:cNvSpPr>
            <p:nvPr/>
          </p:nvSpPr>
          <p:spPr bwMode="auto">
            <a:xfrm>
              <a:off x="0" y="0"/>
              <a:ext cx="1604963" cy="1071563"/>
            </a:xfrm>
            <a:custGeom>
              <a:avLst/>
              <a:gdLst>
                <a:gd name="T0" fmla="*/ 809460 w 575"/>
                <a:gd name="T1" fmla="*/ 5581 h 384"/>
                <a:gd name="T2" fmla="*/ 809460 w 575"/>
                <a:gd name="T3" fmla="*/ 5581 h 384"/>
                <a:gd name="T4" fmla="*/ 809460 w 575"/>
                <a:gd name="T5" fmla="*/ 5581 h 384"/>
                <a:gd name="T6" fmla="*/ 809460 w 575"/>
                <a:gd name="T7" fmla="*/ 5581 h 384"/>
                <a:gd name="T8" fmla="*/ 809460 w 575"/>
                <a:gd name="T9" fmla="*/ 5581 h 384"/>
                <a:gd name="T10" fmla="*/ 0 w 575"/>
                <a:gd name="T11" fmla="*/ 795301 h 384"/>
                <a:gd name="T12" fmla="*/ 36286 w 575"/>
                <a:gd name="T13" fmla="*/ 1049239 h 384"/>
                <a:gd name="T14" fmla="*/ 284706 w 575"/>
                <a:gd name="T15" fmla="*/ 1018543 h 384"/>
                <a:gd name="T16" fmla="*/ 242838 w 575"/>
                <a:gd name="T17" fmla="*/ 798091 h 384"/>
                <a:gd name="T18" fmla="*/ 806668 w 575"/>
                <a:gd name="T19" fmla="*/ 248357 h 384"/>
                <a:gd name="T20" fmla="*/ 1356543 w 575"/>
                <a:gd name="T21" fmla="*/ 812044 h 384"/>
                <a:gd name="T22" fmla="*/ 1309092 w 575"/>
                <a:gd name="T23" fmla="*/ 1032496 h 384"/>
                <a:gd name="T24" fmla="*/ 1554721 w 575"/>
                <a:gd name="T25" fmla="*/ 1071563 h 384"/>
                <a:gd name="T26" fmla="*/ 1599381 w 575"/>
                <a:gd name="T27" fmla="*/ 817625 h 384"/>
                <a:gd name="T28" fmla="*/ 809460 w 575"/>
                <a:gd name="T29" fmla="*/ 5581 h 3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5"/>
                <a:gd name="T46" fmla="*/ 0 h 384"/>
                <a:gd name="T47" fmla="*/ 575 w 575"/>
                <a:gd name="T48" fmla="*/ 384 h 38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5" h="384">
                  <a:moveTo>
                    <a:pt x="290" y="2"/>
                  </a:moveTo>
                  <a:cubicBezTo>
                    <a:pt x="290" y="2"/>
                    <a:pt x="290" y="2"/>
                    <a:pt x="290" y="2"/>
                  </a:cubicBezTo>
                  <a:cubicBezTo>
                    <a:pt x="290" y="2"/>
                    <a:pt x="290" y="2"/>
                    <a:pt x="290" y="2"/>
                  </a:cubicBezTo>
                  <a:cubicBezTo>
                    <a:pt x="290" y="2"/>
                    <a:pt x="290" y="2"/>
                    <a:pt x="290" y="2"/>
                  </a:cubicBezTo>
                  <a:cubicBezTo>
                    <a:pt x="290" y="2"/>
                    <a:pt x="290" y="2"/>
                    <a:pt x="290" y="2"/>
                  </a:cubicBezTo>
                  <a:cubicBezTo>
                    <a:pt x="132" y="0"/>
                    <a:pt x="1" y="127"/>
                    <a:pt x="0" y="285"/>
                  </a:cubicBezTo>
                  <a:cubicBezTo>
                    <a:pt x="0" y="317"/>
                    <a:pt x="4" y="348"/>
                    <a:pt x="13" y="376"/>
                  </a:cubicBezTo>
                  <a:cubicBezTo>
                    <a:pt x="102" y="365"/>
                    <a:pt x="102" y="365"/>
                    <a:pt x="102" y="365"/>
                  </a:cubicBezTo>
                  <a:cubicBezTo>
                    <a:pt x="91" y="342"/>
                    <a:pt x="86" y="314"/>
                    <a:pt x="87" y="286"/>
                  </a:cubicBezTo>
                  <a:cubicBezTo>
                    <a:pt x="88" y="176"/>
                    <a:pt x="179" y="87"/>
                    <a:pt x="289" y="89"/>
                  </a:cubicBezTo>
                  <a:cubicBezTo>
                    <a:pt x="399" y="90"/>
                    <a:pt x="488" y="181"/>
                    <a:pt x="486" y="291"/>
                  </a:cubicBezTo>
                  <a:cubicBezTo>
                    <a:pt x="486" y="319"/>
                    <a:pt x="480" y="346"/>
                    <a:pt x="469" y="370"/>
                  </a:cubicBezTo>
                  <a:cubicBezTo>
                    <a:pt x="557" y="384"/>
                    <a:pt x="557" y="384"/>
                    <a:pt x="557" y="384"/>
                  </a:cubicBezTo>
                  <a:cubicBezTo>
                    <a:pt x="568" y="355"/>
                    <a:pt x="573" y="324"/>
                    <a:pt x="573" y="293"/>
                  </a:cubicBezTo>
                  <a:cubicBezTo>
                    <a:pt x="575" y="134"/>
                    <a:pt x="448" y="4"/>
                    <a:pt x="290" y="2"/>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grpSp>
      <p:grpSp>
        <p:nvGrpSpPr>
          <p:cNvPr id="70" name="组合 6"/>
          <p:cNvGrpSpPr>
            <a:grpSpLocks/>
          </p:cNvGrpSpPr>
          <p:nvPr/>
        </p:nvGrpSpPr>
        <p:grpSpPr bwMode="auto">
          <a:xfrm>
            <a:off x="4273038" y="2356254"/>
            <a:ext cx="1609725" cy="1692275"/>
            <a:chOff x="0" y="0"/>
            <a:chExt cx="1609725" cy="1692275"/>
          </a:xfrm>
          <a:solidFill>
            <a:schemeClr val="accent1">
              <a:lumMod val="50000"/>
            </a:schemeClr>
          </a:solidFill>
        </p:grpSpPr>
        <p:sp>
          <p:nvSpPr>
            <p:cNvPr id="71" name="Freeform 214"/>
            <p:cNvSpPr>
              <a:spLocks noChangeArrowheads="1"/>
            </p:cNvSpPr>
            <p:nvPr/>
          </p:nvSpPr>
          <p:spPr bwMode="auto">
            <a:xfrm>
              <a:off x="25400" y="452438"/>
              <a:ext cx="228600" cy="153988"/>
            </a:xfrm>
            <a:custGeom>
              <a:avLst/>
              <a:gdLst>
                <a:gd name="T0" fmla="*/ 228600 w 82"/>
                <a:gd name="T1" fmla="*/ 134390 h 55"/>
                <a:gd name="T2" fmla="*/ 25090 w 82"/>
                <a:gd name="T3" fmla="*/ 0 h 55"/>
                <a:gd name="T4" fmla="*/ 0 w 82"/>
                <a:gd name="T5" fmla="*/ 39197 h 55"/>
                <a:gd name="T6" fmla="*/ 214661 w 82"/>
                <a:gd name="T7" fmla="*/ 153988 h 55"/>
                <a:gd name="T8" fmla="*/ 228600 w 82"/>
                <a:gd name="T9" fmla="*/ 134390 h 55"/>
                <a:gd name="T10" fmla="*/ 0 60000 65536"/>
                <a:gd name="T11" fmla="*/ 0 60000 65536"/>
                <a:gd name="T12" fmla="*/ 0 60000 65536"/>
                <a:gd name="T13" fmla="*/ 0 60000 65536"/>
                <a:gd name="T14" fmla="*/ 0 60000 65536"/>
                <a:gd name="T15" fmla="*/ 0 w 82"/>
                <a:gd name="T16" fmla="*/ 0 h 55"/>
                <a:gd name="T17" fmla="*/ 82 w 82"/>
                <a:gd name="T18" fmla="*/ 55 h 55"/>
              </a:gdLst>
              <a:ahLst/>
              <a:cxnLst>
                <a:cxn ang="T10">
                  <a:pos x="T0" y="T1"/>
                </a:cxn>
                <a:cxn ang="T11">
                  <a:pos x="T2" y="T3"/>
                </a:cxn>
                <a:cxn ang="T12">
                  <a:pos x="T4" y="T5"/>
                </a:cxn>
                <a:cxn ang="T13">
                  <a:pos x="T6" y="T7"/>
                </a:cxn>
                <a:cxn ang="T14">
                  <a:pos x="T8" y="T9"/>
                </a:cxn>
              </a:cxnLst>
              <a:rect l="T15" t="T16" r="T17" b="T18"/>
              <a:pathLst>
                <a:path w="82" h="55">
                  <a:moveTo>
                    <a:pt x="82" y="48"/>
                  </a:moveTo>
                  <a:cubicBezTo>
                    <a:pt x="9" y="0"/>
                    <a:pt x="9" y="0"/>
                    <a:pt x="9" y="0"/>
                  </a:cubicBezTo>
                  <a:cubicBezTo>
                    <a:pt x="5" y="6"/>
                    <a:pt x="5" y="8"/>
                    <a:pt x="0" y="14"/>
                  </a:cubicBezTo>
                  <a:cubicBezTo>
                    <a:pt x="77" y="55"/>
                    <a:pt x="77" y="55"/>
                    <a:pt x="77" y="55"/>
                  </a:cubicBezTo>
                  <a:cubicBezTo>
                    <a:pt x="80" y="51"/>
                    <a:pt x="79" y="52"/>
                    <a:pt x="82" y="48"/>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2" name="Freeform 215"/>
            <p:cNvSpPr>
              <a:spLocks noChangeArrowheads="1"/>
            </p:cNvSpPr>
            <p:nvPr/>
          </p:nvSpPr>
          <p:spPr bwMode="auto">
            <a:xfrm>
              <a:off x="0" y="506413"/>
              <a:ext cx="228600" cy="133350"/>
            </a:xfrm>
            <a:custGeom>
              <a:avLst/>
              <a:gdLst>
                <a:gd name="T0" fmla="*/ 228600 w 82"/>
                <a:gd name="T1" fmla="*/ 119459 h 48"/>
                <a:gd name="T2" fmla="*/ 16727 w 82"/>
                <a:gd name="T3" fmla="*/ 0 h 48"/>
                <a:gd name="T4" fmla="*/ 0 w 82"/>
                <a:gd name="T5" fmla="*/ 33338 h 48"/>
                <a:gd name="T6" fmla="*/ 223024 w 82"/>
                <a:gd name="T7" fmla="*/ 133350 h 48"/>
                <a:gd name="T8" fmla="*/ 228600 w 82"/>
                <a:gd name="T9" fmla="*/ 119459 h 48"/>
                <a:gd name="T10" fmla="*/ 0 60000 65536"/>
                <a:gd name="T11" fmla="*/ 0 60000 65536"/>
                <a:gd name="T12" fmla="*/ 0 60000 65536"/>
                <a:gd name="T13" fmla="*/ 0 60000 65536"/>
                <a:gd name="T14" fmla="*/ 0 60000 65536"/>
                <a:gd name="T15" fmla="*/ 0 w 82"/>
                <a:gd name="T16" fmla="*/ 0 h 48"/>
                <a:gd name="T17" fmla="*/ 82 w 82"/>
                <a:gd name="T18" fmla="*/ 48 h 48"/>
              </a:gdLst>
              <a:ahLst/>
              <a:cxnLst>
                <a:cxn ang="T10">
                  <a:pos x="T0" y="T1"/>
                </a:cxn>
                <a:cxn ang="T11">
                  <a:pos x="T2" y="T3"/>
                </a:cxn>
                <a:cxn ang="T12">
                  <a:pos x="T4" y="T5"/>
                </a:cxn>
                <a:cxn ang="T13">
                  <a:pos x="T6" y="T7"/>
                </a:cxn>
                <a:cxn ang="T14">
                  <a:pos x="T8" y="T9"/>
                </a:cxn>
              </a:cxnLst>
              <a:rect l="T15" t="T16" r="T17" b="T18"/>
              <a:pathLst>
                <a:path w="82" h="48">
                  <a:moveTo>
                    <a:pt x="82" y="43"/>
                  </a:moveTo>
                  <a:cubicBezTo>
                    <a:pt x="6" y="0"/>
                    <a:pt x="6" y="0"/>
                    <a:pt x="6" y="0"/>
                  </a:cubicBezTo>
                  <a:cubicBezTo>
                    <a:pt x="3" y="7"/>
                    <a:pt x="3" y="6"/>
                    <a:pt x="0" y="12"/>
                  </a:cubicBezTo>
                  <a:cubicBezTo>
                    <a:pt x="80" y="48"/>
                    <a:pt x="80" y="48"/>
                    <a:pt x="80" y="48"/>
                  </a:cubicBezTo>
                  <a:cubicBezTo>
                    <a:pt x="81" y="44"/>
                    <a:pt x="80" y="46"/>
                    <a:pt x="82" y="43"/>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3" name="Freeform 216"/>
            <p:cNvSpPr>
              <a:spLocks noChangeArrowheads="1"/>
            </p:cNvSpPr>
            <p:nvPr/>
          </p:nvSpPr>
          <p:spPr bwMode="auto">
            <a:xfrm>
              <a:off x="66675" y="374651"/>
              <a:ext cx="217488" cy="187325"/>
            </a:xfrm>
            <a:custGeom>
              <a:avLst/>
              <a:gdLst>
                <a:gd name="T0" fmla="*/ 217488 w 78"/>
                <a:gd name="T1" fmla="*/ 167754 h 67"/>
                <a:gd name="T2" fmla="*/ 41825 w 78"/>
                <a:gd name="T3" fmla="*/ 0 h 67"/>
                <a:gd name="T4" fmla="*/ 0 w 78"/>
                <a:gd name="T5" fmla="*/ 53122 h 67"/>
                <a:gd name="T6" fmla="*/ 200758 w 78"/>
                <a:gd name="T7" fmla="*/ 187325 h 67"/>
                <a:gd name="T8" fmla="*/ 217488 w 78"/>
                <a:gd name="T9" fmla="*/ 167754 h 67"/>
                <a:gd name="T10" fmla="*/ 0 60000 65536"/>
                <a:gd name="T11" fmla="*/ 0 60000 65536"/>
                <a:gd name="T12" fmla="*/ 0 60000 65536"/>
                <a:gd name="T13" fmla="*/ 0 60000 65536"/>
                <a:gd name="T14" fmla="*/ 0 60000 65536"/>
                <a:gd name="T15" fmla="*/ 0 w 78"/>
                <a:gd name="T16" fmla="*/ 0 h 67"/>
                <a:gd name="T17" fmla="*/ 78 w 78"/>
                <a:gd name="T18" fmla="*/ 67 h 67"/>
              </a:gdLst>
              <a:ahLst/>
              <a:cxnLst>
                <a:cxn ang="T10">
                  <a:pos x="T0" y="T1"/>
                </a:cxn>
                <a:cxn ang="T11">
                  <a:pos x="T2" y="T3"/>
                </a:cxn>
                <a:cxn ang="T12">
                  <a:pos x="T4" y="T5"/>
                </a:cxn>
                <a:cxn ang="T13">
                  <a:pos x="T6" y="T7"/>
                </a:cxn>
                <a:cxn ang="T14">
                  <a:pos x="T8" y="T9"/>
                </a:cxn>
              </a:cxnLst>
              <a:rect l="T15" t="T16" r="T17" b="T18"/>
              <a:pathLst>
                <a:path w="78" h="67">
                  <a:moveTo>
                    <a:pt x="78" y="60"/>
                  </a:moveTo>
                  <a:cubicBezTo>
                    <a:pt x="15" y="0"/>
                    <a:pt x="15" y="0"/>
                    <a:pt x="15" y="0"/>
                  </a:cubicBezTo>
                  <a:cubicBezTo>
                    <a:pt x="7" y="9"/>
                    <a:pt x="7" y="9"/>
                    <a:pt x="0" y="19"/>
                  </a:cubicBezTo>
                  <a:cubicBezTo>
                    <a:pt x="72" y="67"/>
                    <a:pt x="72" y="67"/>
                    <a:pt x="72" y="67"/>
                  </a:cubicBezTo>
                  <a:cubicBezTo>
                    <a:pt x="77" y="62"/>
                    <a:pt x="73" y="66"/>
                    <a:pt x="78" y="6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4" name="Freeform 217"/>
            <p:cNvSpPr>
              <a:spLocks noChangeArrowheads="1"/>
            </p:cNvSpPr>
            <p:nvPr/>
          </p:nvSpPr>
          <p:spPr bwMode="auto">
            <a:xfrm>
              <a:off x="125413" y="304801"/>
              <a:ext cx="195263" cy="220663"/>
            </a:xfrm>
            <a:custGeom>
              <a:avLst/>
              <a:gdLst>
                <a:gd name="T0" fmla="*/ 195263 w 70"/>
                <a:gd name="T1" fmla="*/ 195524 h 79"/>
                <a:gd name="T2" fmla="*/ 50210 w 70"/>
                <a:gd name="T3" fmla="*/ 0 h 79"/>
                <a:gd name="T4" fmla="*/ 0 w 70"/>
                <a:gd name="T5" fmla="*/ 50278 h 79"/>
                <a:gd name="T6" fmla="*/ 172947 w 70"/>
                <a:gd name="T7" fmla="*/ 220663 h 79"/>
                <a:gd name="T8" fmla="*/ 195263 w 70"/>
                <a:gd name="T9" fmla="*/ 195524 h 79"/>
                <a:gd name="T10" fmla="*/ 0 60000 65536"/>
                <a:gd name="T11" fmla="*/ 0 60000 65536"/>
                <a:gd name="T12" fmla="*/ 0 60000 65536"/>
                <a:gd name="T13" fmla="*/ 0 60000 65536"/>
                <a:gd name="T14" fmla="*/ 0 60000 65536"/>
                <a:gd name="T15" fmla="*/ 0 w 70"/>
                <a:gd name="T16" fmla="*/ 0 h 79"/>
                <a:gd name="T17" fmla="*/ 70 w 70"/>
                <a:gd name="T18" fmla="*/ 79 h 79"/>
              </a:gdLst>
              <a:ahLst/>
              <a:cxnLst>
                <a:cxn ang="T10">
                  <a:pos x="T0" y="T1"/>
                </a:cxn>
                <a:cxn ang="T11">
                  <a:pos x="T2" y="T3"/>
                </a:cxn>
                <a:cxn ang="T12">
                  <a:pos x="T4" y="T5"/>
                </a:cxn>
                <a:cxn ang="T13">
                  <a:pos x="T6" y="T7"/>
                </a:cxn>
                <a:cxn ang="T14">
                  <a:pos x="T8" y="T9"/>
                </a:cxn>
              </a:cxnLst>
              <a:rect l="T15" t="T16" r="T17" b="T18"/>
              <a:pathLst>
                <a:path w="70" h="79">
                  <a:moveTo>
                    <a:pt x="70" y="70"/>
                  </a:moveTo>
                  <a:cubicBezTo>
                    <a:pt x="18" y="0"/>
                    <a:pt x="18" y="0"/>
                    <a:pt x="18" y="0"/>
                  </a:cubicBezTo>
                  <a:cubicBezTo>
                    <a:pt x="11" y="6"/>
                    <a:pt x="6" y="10"/>
                    <a:pt x="0" y="18"/>
                  </a:cubicBezTo>
                  <a:cubicBezTo>
                    <a:pt x="62" y="79"/>
                    <a:pt x="62" y="79"/>
                    <a:pt x="62" y="79"/>
                  </a:cubicBezTo>
                  <a:cubicBezTo>
                    <a:pt x="66" y="74"/>
                    <a:pt x="66" y="74"/>
                    <a:pt x="70" y="7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5" name="Freeform 218"/>
            <p:cNvSpPr>
              <a:spLocks noChangeArrowheads="1"/>
            </p:cNvSpPr>
            <p:nvPr/>
          </p:nvSpPr>
          <p:spPr bwMode="auto">
            <a:xfrm>
              <a:off x="188913" y="234951"/>
              <a:ext cx="168275" cy="249238"/>
            </a:xfrm>
            <a:custGeom>
              <a:avLst/>
              <a:gdLst>
                <a:gd name="T0" fmla="*/ 168275 w 60"/>
                <a:gd name="T1" fmla="*/ 229635 h 89"/>
                <a:gd name="T2" fmla="*/ 70115 w 60"/>
                <a:gd name="T3" fmla="*/ 0 h 89"/>
                <a:gd name="T4" fmla="*/ 0 w 60"/>
                <a:gd name="T5" fmla="*/ 53208 h 89"/>
                <a:gd name="T6" fmla="*/ 145838 w 60"/>
                <a:gd name="T7" fmla="*/ 249238 h 89"/>
                <a:gd name="T8" fmla="*/ 168275 w 60"/>
                <a:gd name="T9" fmla="*/ 229635 h 89"/>
                <a:gd name="T10" fmla="*/ 0 60000 65536"/>
                <a:gd name="T11" fmla="*/ 0 60000 65536"/>
                <a:gd name="T12" fmla="*/ 0 60000 65536"/>
                <a:gd name="T13" fmla="*/ 0 60000 65536"/>
                <a:gd name="T14" fmla="*/ 0 60000 65536"/>
                <a:gd name="T15" fmla="*/ 0 w 60"/>
                <a:gd name="T16" fmla="*/ 0 h 89"/>
                <a:gd name="T17" fmla="*/ 60 w 60"/>
                <a:gd name="T18" fmla="*/ 89 h 89"/>
              </a:gdLst>
              <a:ahLst/>
              <a:cxnLst>
                <a:cxn ang="T10">
                  <a:pos x="T0" y="T1"/>
                </a:cxn>
                <a:cxn ang="T11">
                  <a:pos x="T2" y="T3"/>
                </a:cxn>
                <a:cxn ang="T12">
                  <a:pos x="T4" y="T5"/>
                </a:cxn>
                <a:cxn ang="T13">
                  <a:pos x="T6" y="T7"/>
                </a:cxn>
                <a:cxn ang="T14">
                  <a:pos x="T8" y="T9"/>
                </a:cxn>
              </a:cxnLst>
              <a:rect l="T15" t="T16" r="T17" b="T18"/>
              <a:pathLst>
                <a:path w="60" h="89">
                  <a:moveTo>
                    <a:pt x="60" y="82"/>
                  </a:moveTo>
                  <a:cubicBezTo>
                    <a:pt x="25" y="0"/>
                    <a:pt x="25" y="0"/>
                    <a:pt x="25" y="0"/>
                  </a:cubicBezTo>
                  <a:cubicBezTo>
                    <a:pt x="13" y="8"/>
                    <a:pt x="10" y="10"/>
                    <a:pt x="0" y="19"/>
                  </a:cubicBezTo>
                  <a:cubicBezTo>
                    <a:pt x="52" y="89"/>
                    <a:pt x="52" y="89"/>
                    <a:pt x="52" y="89"/>
                  </a:cubicBezTo>
                  <a:cubicBezTo>
                    <a:pt x="58" y="84"/>
                    <a:pt x="55" y="87"/>
                    <a:pt x="60" y="82"/>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6" name="Freeform 219"/>
            <p:cNvSpPr>
              <a:spLocks noChangeArrowheads="1"/>
            </p:cNvSpPr>
            <p:nvPr/>
          </p:nvSpPr>
          <p:spPr bwMode="auto">
            <a:xfrm>
              <a:off x="320675" y="1373188"/>
              <a:ext cx="147638" cy="230188"/>
            </a:xfrm>
            <a:custGeom>
              <a:avLst/>
              <a:gdLst>
                <a:gd name="T0" fmla="*/ 130924 w 53"/>
                <a:gd name="T1" fmla="*/ 0 h 82"/>
                <a:gd name="T2" fmla="*/ 0 w 53"/>
                <a:gd name="T3" fmla="*/ 207731 h 82"/>
                <a:gd name="T4" fmla="*/ 38999 w 53"/>
                <a:gd name="T5" fmla="*/ 230188 h 82"/>
                <a:gd name="T6" fmla="*/ 147638 w 53"/>
                <a:gd name="T7" fmla="*/ 11229 h 82"/>
                <a:gd name="T8" fmla="*/ 130924 w 53"/>
                <a:gd name="T9" fmla="*/ 0 h 82"/>
                <a:gd name="T10" fmla="*/ 0 60000 65536"/>
                <a:gd name="T11" fmla="*/ 0 60000 65536"/>
                <a:gd name="T12" fmla="*/ 0 60000 65536"/>
                <a:gd name="T13" fmla="*/ 0 60000 65536"/>
                <a:gd name="T14" fmla="*/ 0 60000 65536"/>
                <a:gd name="T15" fmla="*/ 0 w 53"/>
                <a:gd name="T16" fmla="*/ 0 h 82"/>
                <a:gd name="T17" fmla="*/ 53 w 53"/>
                <a:gd name="T18" fmla="*/ 82 h 82"/>
              </a:gdLst>
              <a:ahLst/>
              <a:cxnLst>
                <a:cxn ang="T10">
                  <a:pos x="T0" y="T1"/>
                </a:cxn>
                <a:cxn ang="T11">
                  <a:pos x="T2" y="T3"/>
                </a:cxn>
                <a:cxn ang="T12">
                  <a:pos x="T4" y="T5"/>
                </a:cxn>
                <a:cxn ang="T13">
                  <a:pos x="T6" y="T7"/>
                </a:cxn>
                <a:cxn ang="T14">
                  <a:pos x="T8" y="T9"/>
                </a:cxn>
              </a:cxnLst>
              <a:rect l="T15" t="T16" r="T17" b="T18"/>
              <a:pathLst>
                <a:path w="53" h="82">
                  <a:moveTo>
                    <a:pt x="47" y="0"/>
                  </a:moveTo>
                  <a:cubicBezTo>
                    <a:pt x="0" y="74"/>
                    <a:pt x="0" y="74"/>
                    <a:pt x="0" y="74"/>
                  </a:cubicBezTo>
                  <a:cubicBezTo>
                    <a:pt x="7" y="78"/>
                    <a:pt x="8" y="79"/>
                    <a:pt x="14" y="82"/>
                  </a:cubicBezTo>
                  <a:cubicBezTo>
                    <a:pt x="53" y="4"/>
                    <a:pt x="53" y="4"/>
                    <a:pt x="53" y="4"/>
                  </a:cubicBezTo>
                  <a:cubicBezTo>
                    <a:pt x="49" y="2"/>
                    <a:pt x="50" y="3"/>
                    <a:pt x="47"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7" name="Freeform 220"/>
            <p:cNvSpPr>
              <a:spLocks noChangeArrowheads="1"/>
            </p:cNvSpPr>
            <p:nvPr/>
          </p:nvSpPr>
          <p:spPr bwMode="auto">
            <a:xfrm>
              <a:off x="273050" y="1357313"/>
              <a:ext cx="157163" cy="214313"/>
            </a:xfrm>
            <a:custGeom>
              <a:avLst/>
              <a:gdLst>
                <a:gd name="T0" fmla="*/ 143131 w 56"/>
                <a:gd name="T1" fmla="*/ 0 h 77"/>
                <a:gd name="T2" fmla="*/ 0 w 56"/>
                <a:gd name="T3" fmla="*/ 194830 h 77"/>
                <a:gd name="T4" fmla="*/ 30871 w 56"/>
                <a:gd name="T5" fmla="*/ 214313 h 77"/>
                <a:gd name="T6" fmla="*/ 157163 w 56"/>
                <a:gd name="T7" fmla="*/ 8350 h 77"/>
                <a:gd name="T8" fmla="*/ 143131 w 56"/>
                <a:gd name="T9" fmla="*/ 0 h 77"/>
                <a:gd name="T10" fmla="*/ 0 60000 65536"/>
                <a:gd name="T11" fmla="*/ 0 60000 65536"/>
                <a:gd name="T12" fmla="*/ 0 60000 65536"/>
                <a:gd name="T13" fmla="*/ 0 60000 65536"/>
                <a:gd name="T14" fmla="*/ 0 60000 65536"/>
                <a:gd name="T15" fmla="*/ 0 w 56"/>
                <a:gd name="T16" fmla="*/ 0 h 77"/>
                <a:gd name="T17" fmla="*/ 56 w 56"/>
                <a:gd name="T18" fmla="*/ 77 h 77"/>
              </a:gdLst>
              <a:ahLst/>
              <a:cxnLst>
                <a:cxn ang="T10">
                  <a:pos x="T0" y="T1"/>
                </a:cxn>
                <a:cxn ang="T11">
                  <a:pos x="T2" y="T3"/>
                </a:cxn>
                <a:cxn ang="T12">
                  <a:pos x="T4" y="T5"/>
                </a:cxn>
                <a:cxn ang="T13">
                  <a:pos x="T6" y="T7"/>
                </a:cxn>
                <a:cxn ang="T14">
                  <a:pos x="T8" y="T9"/>
                </a:cxn>
              </a:cxnLst>
              <a:rect l="T15" t="T16" r="T17" b="T18"/>
              <a:pathLst>
                <a:path w="56" h="77">
                  <a:moveTo>
                    <a:pt x="51" y="0"/>
                  </a:moveTo>
                  <a:cubicBezTo>
                    <a:pt x="0" y="70"/>
                    <a:pt x="0" y="70"/>
                    <a:pt x="0" y="70"/>
                  </a:cubicBezTo>
                  <a:cubicBezTo>
                    <a:pt x="6" y="74"/>
                    <a:pt x="6" y="74"/>
                    <a:pt x="11" y="77"/>
                  </a:cubicBezTo>
                  <a:cubicBezTo>
                    <a:pt x="56" y="3"/>
                    <a:pt x="56" y="3"/>
                    <a:pt x="56" y="3"/>
                  </a:cubicBezTo>
                  <a:cubicBezTo>
                    <a:pt x="53" y="0"/>
                    <a:pt x="54" y="2"/>
                    <a:pt x="51"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8" name="Freeform 221"/>
            <p:cNvSpPr>
              <a:spLocks noChangeArrowheads="1"/>
            </p:cNvSpPr>
            <p:nvPr/>
          </p:nvSpPr>
          <p:spPr bwMode="auto">
            <a:xfrm>
              <a:off x="387350" y="1395413"/>
              <a:ext cx="131763" cy="246063"/>
            </a:xfrm>
            <a:custGeom>
              <a:avLst/>
              <a:gdLst>
                <a:gd name="T0" fmla="*/ 106532 w 47"/>
                <a:gd name="T1" fmla="*/ 0 h 88"/>
                <a:gd name="T2" fmla="*/ 0 w 47"/>
                <a:gd name="T3" fmla="*/ 220897 h 88"/>
                <a:gd name="T4" fmla="*/ 64480 w 47"/>
                <a:gd name="T5" fmla="*/ 246063 h 88"/>
                <a:gd name="T6" fmla="*/ 131763 w 47"/>
                <a:gd name="T7" fmla="*/ 11185 h 88"/>
                <a:gd name="T8" fmla="*/ 106532 w 47"/>
                <a:gd name="T9" fmla="*/ 0 h 88"/>
                <a:gd name="T10" fmla="*/ 0 60000 65536"/>
                <a:gd name="T11" fmla="*/ 0 60000 65536"/>
                <a:gd name="T12" fmla="*/ 0 60000 65536"/>
                <a:gd name="T13" fmla="*/ 0 60000 65536"/>
                <a:gd name="T14" fmla="*/ 0 60000 65536"/>
                <a:gd name="T15" fmla="*/ 0 w 47"/>
                <a:gd name="T16" fmla="*/ 0 h 88"/>
                <a:gd name="T17" fmla="*/ 47 w 47"/>
                <a:gd name="T18" fmla="*/ 88 h 88"/>
              </a:gdLst>
              <a:ahLst/>
              <a:cxnLst>
                <a:cxn ang="T10">
                  <a:pos x="T0" y="T1"/>
                </a:cxn>
                <a:cxn ang="T11">
                  <a:pos x="T2" y="T3"/>
                </a:cxn>
                <a:cxn ang="T12">
                  <a:pos x="T4" y="T5"/>
                </a:cxn>
                <a:cxn ang="T13">
                  <a:pos x="T6" y="T7"/>
                </a:cxn>
                <a:cxn ang="T14">
                  <a:pos x="T8" y="T9"/>
                </a:cxn>
              </a:cxnLst>
              <a:rect l="T15" t="T16" r="T17" b="T18"/>
              <a:pathLst>
                <a:path w="47" h="88">
                  <a:moveTo>
                    <a:pt x="38" y="0"/>
                  </a:moveTo>
                  <a:cubicBezTo>
                    <a:pt x="0" y="79"/>
                    <a:pt x="0" y="79"/>
                    <a:pt x="0" y="79"/>
                  </a:cubicBezTo>
                  <a:cubicBezTo>
                    <a:pt x="12" y="84"/>
                    <a:pt x="11" y="84"/>
                    <a:pt x="23" y="88"/>
                  </a:cubicBezTo>
                  <a:cubicBezTo>
                    <a:pt x="47" y="4"/>
                    <a:pt x="47" y="4"/>
                    <a:pt x="47" y="4"/>
                  </a:cubicBezTo>
                  <a:cubicBezTo>
                    <a:pt x="40" y="2"/>
                    <a:pt x="45" y="3"/>
                    <a:pt x="38"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79" name="Freeform 222"/>
            <p:cNvSpPr>
              <a:spLocks noChangeArrowheads="1"/>
            </p:cNvSpPr>
            <p:nvPr/>
          </p:nvSpPr>
          <p:spPr bwMode="auto">
            <a:xfrm>
              <a:off x="474663" y="1416051"/>
              <a:ext cx="96838" cy="254000"/>
            </a:xfrm>
            <a:custGeom>
              <a:avLst/>
              <a:gdLst>
                <a:gd name="T0" fmla="*/ 66403 w 35"/>
                <a:gd name="T1" fmla="*/ 0 h 91"/>
                <a:gd name="T2" fmla="*/ 0 w 35"/>
                <a:gd name="T3" fmla="*/ 237253 h 91"/>
                <a:gd name="T4" fmla="*/ 69170 w 35"/>
                <a:gd name="T5" fmla="*/ 254000 h 91"/>
                <a:gd name="T6" fmla="*/ 96838 w 35"/>
                <a:gd name="T7" fmla="*/ 11165 h 91"/>
                <a:gd name="T8" fmla="*/ 66403 w 35"/>
                <a:gd name="T9" fmla="*/ 0 h 91"/>
                <a:gd name="T10" fmla="*/ 0 60000 65536"/>
                <a:gd name="T11" fmla="*/ 0 60000 65536"/>
                <a:gd name="T12" fmla="*/ 0 60000 65536"/>
                <a:gd name="T13" fmla="*/ 0 60000 65536"/>
                <a:gd name="T14" fmla="*/ 0 60000 65536"/>
                <a:gd name="T15" fmla="*/ 0 w 35"/>
                <a:gd name="T16" fmla="*/ 0 h 91"/>
                <a:gd name="T17" fmla="*/ 35 w 35"/>
                <a:gd name="T18" fmla="*/ 91 h 91"/>
              </a:gdLst>
              <a:ahLst/>
              <a:cxnLst>
                <a:cxn ang="T10">
                  <a:pos x="T0" y="T1"/>
                </a:cxn>
                <a:cxn ang="T11">
                  <a:pos x="T2" y="T3"/>
                </a:cxn>
                <a:cxn ang="T12">
                  <a:pos x="T4" y="T5"/>
                </a:cxn>
                <a:cxn ang="T13">
                  <a:pos x="T6" y="T7"/>
                </a:cxn>
                <a:cxn ang="T14">
                  <a:pos x="T8" y="T9"/>
                </a:cxn>
              </a:cxnLst>
              <a:rect l="T15" t="T16" r="T17" b="T18"/>
              <a:pathLst>
                <a:path w="35" h="91">
                  <a:moveTo>
                    <a:pt x="24" y="0"/>
                  </a:moveTo>
                  <a:cubicBezTo>
                    <a:pt x="0" y="85"/>
                    <a:pt x="0" y="85"/>
                    <a:pt x="0" y="85"/>
                  </a:cubicBezTo>
                  <a:cubicBezTo>
                    <a:pt x="10" y="87"/>
                    <a:pt x="15" y="89"/>
                    <a:pt x="25" y="91"/>
                  </a:cubicBezTo>
                  <a:cubicBezTo>
                    <a:pt x="35" y="4"/>
                    <a:pt x="35" y="4"/>
                    <a:pt x="35" y="4"/>
                  </a:cubicBezTo>
                  <a:cubicBezTo>
                    <a:pt x="29" y="3"/>
                    <a:pt x="29" y="2"/>
                    <a:pt x="24"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80" name="Freeform 223"/>
            <p:cNvSpPr>
              <a:spLocks noChangeArrowheads="1"/>
            </p:cNvSpPr>
            <p:nvPr/>
          </p:nvSpPr>
          <p:spPr bwMode="auto">
            <a:xfrm>
              <a:off x="566738" y="1431926"/>
              <a:ext cx="85725" cy="254000"/>
            </a:xfrm>
            <a:custGeom>
              <a:avLst/>
              <a:gdLst>
                <a:gd name="T0" fmla="*/ 27653 w 31"/>
                <a:gd name="T1" fmla="*/ 0 h 91"/>
                <a:gd name="T2" fmla="*/ 0 w 31"/>
                <a:gd name="T3" fmla="*/ 242835 h 91"/>
                <a:gd name="T4" fmla="*/ 85725 w 31"/>
                <a:gd name="T5" fmla="*/ 254000 h 91"/>
                <a:gd name="T6" fmla="*/ 55306 w 31"/>
                <a:gd name="T7" fmla="*/ 5582 h 91"/>
                <a:gd name="T8" fmla="*/ 27653 w 31"/>
                <a:gd name="T9" fmla="*/ 0 h 91"/>
                <a:gd name="T10" fmla="*/ 0 60000 65536"/>
                <a:gd name="T11" fmla="*/ 0 60000 65536"/>
                <a:gd name="T12" fmla="*/ 0 60000 65536"/>
                <a:gd name="T13" fmla="*/ 0 60000 65536"/>
                <a:gd name="T14" fmla="*/ 0 60000 65536"/>
                <a:gd name="T15" fmla="*/ 0 w 31"/>
                <a:gd name="T16" fmla="*/ 0 h 91"/>
                <a:gd name="T17" fmla="*/ 31 w 31"/>
                <a:gd name="T18" fmla="*/ 91 h 91"/>
              </a:gdLst>
              <a:ahLst/>
              <a:cxnLst>
                <a:cxn ang="T10">
                  <a:pos x="T0" y="T1"/>
                </a:cxn>
                <a:cxn ang="T11">
                  <a:pos x="T2" y="T3"/>
                </a:cxn>
                <a:cxn ang="T12">
                  <a:pos x="T4" y="T5"/>
                </a:cxn>
                <a:cxn ang="T13">
                  <a:pos x="T6" y="T7"/>
                </a:cxn>
                <a:cxn ang="T14">
                  <a:pos x="T8" y="T9"/>
                </a:cxn>
              </a:cxnLst>
              <a:rect l="T15" t="T16" r="T17" b="T18"/>
              <a:pathLst>
                <a:path w="31" h="91">
                  <a:moveTo>
                    <a:pt x="10" y="0"/>
                  </a:moveTo>
                  <a:cubicBezTo>
                    <a:pt x="0" y="87"/>
                    <a:pt x="0" y="87"/>
                    <a:pt x="0" y="87"/>
                  </a:cubicBezTo>
                  <a:cubicBezTo>
                    <a:pt x="13" y="90"/>
                    <a:pt x="17" y="90"/>
                    <a:pt x="31" y="91"/>
                  </a:cubicBezTo>
                  <a:cubicBezTo>
                    <a:pt x="20" y="2"/>
                    <a:pt x="20" y="2"/>
                    <a:pt x="20" y="2"/>
                  </a:cubicBezTo>
                  <a:cubicBezTo>
                    <a:pt x="13" y="1"/>
                    <a:pt x="16" y="2"/>
                    <a:pt x="10" y="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81" name="Freeform 224"/>
            <p:cNvSpPr>
              <a:spLocks noChangeArrowheads="1"/>
            </p:cNvSpPr>
            <p:nvPr/>
          </p:nvSpPr>
          <p:spPr bwMode="auto">
            <a:xfrm>
              <a:off x="276225" y="0"/>
              <a:ext cx="1333500" cy="1692275"/>
            </a:xfrm>
            <a:custGeom>
              <a:avLst/>
              <a:gdLst>
                <a:gd name="T0" fmla="*/ 1219120 w 478"/>
                <a:gd name="T1" fmla="*/ 678586 h 606"/>
                <a:gd name="T2" fmla="*/ 1219120 w 478"/>
                <a:gd name="T3" fmla="*/ 678586 h 606"/>
                <a:gd name="T4" fmla="*/ 1219120 w 478"/>
                <a:gd name="T5" fmla="*/ 678586 h 606"/>
                <a:gd name="T6" fmla="*/ 1219120 w 478"/>
                <a:gd name="T7" fmla="*/ 678586 h 606"/>
                <a:gd name="T8" fmla="*/ 1219120 w 478"/>
                <a:gd name="T9" fmla="*/ 678586 h 606"/>
                <a:gd name="T10" fmla="*/ 237129 w 478"/>
                <a:gd name="T11" fmla="*/ 114494 h 606"/>
                <a:gd name="T12" fmla="*/ 0 w 478"/>
                <a:gd name="T13" fmla="*/ 223403 h 606"/>
                <a:gd name="T14" fmla="*/ 97641 w 478"/>
                <a:gd name="T15" fmla="*/ 452390 h 606"/>
                <a:gd name="T16" fmla="*/ 301293 w 478"/>
                <a:gd name="T17" fmla="*/ 349067 h 606"/>
                <a:gd name="T18" fmla="*/ 981992 w 478"/>
                <a:gd name="T19" fmla="*/ 742814 h 606"/>
                <a:gd name="T20" fmla="*/ 588637 w 478"/>
                <a:gd name="T21" fmla="*/ 1426984 h 606"/>
                <a:gd name="T22" fmla="*/ 365457 w 478"/>
                <a:gd name="T23" fmla="*/ 1440947 h 606"/>
                <a:gd name="T24" fmla="*/ 396144 w 478"/>
                <a:gd name="T25" fmla="*/ 1686690 h 606"/>
                <a:gd name="T26" fmla="*/ 652801 w 478"/>
                <a:gd name="T27" fmla="*/ 1661557 h 606"/>
                <a:gd name="T28" fmla="*/ 1219120 w 478"/>
                <a:gd name="T29" fmla="*/ 678586 h 60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8"/>
                <a:gd name="T46" fmla="*/ 0 h 606"/>
                <a:gd name="T47" fmla="*/ 478 w 478"/>
                <a:gd name="T48" fmla="*/ 606 h 60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8" h="606">
                  <a:moveTo>
                    <a:pt x="437" y="243"/>
                  </a:moveTo>
                  <a:cubicBezTo>
                    <a:pt x="437" y="243"/>
                    <a:pt x="437" y="243"/>
                    <a:pt x="437" y="243"/>
                  </a:cubicBezTo>
                  <a:cubicBezTo>
                    <a:pt x="437" y="243"/>
                    <a:pt x="437" y="243"/>
                    <a:pt x="437" y="243"/>
                  </a:cubicBezTo>
                  <a:cubicBezTo>
                    <a:pt x="437" y="243"/>
                    <a:pt x="437" y="243"/>
                    <a:pt x="437" y="243"/>
                  </a:cubicBezTo>
                  <a:cubicBezTo>
                    <a:pt x="437" y="243"/>
                    <a:pt x="437" y="243"/>
                    <a:pt x="437" y="243"/>
                  </a:cubicBezTo>
                  <a:cubicBezTo>
                    <a:pt x="395" y="91"/>
                    <a:pt x="237" y="0"/>
                    <a:pt x="85" y="41"/>
                  </a:cubicBezTo>
                  <a:cubicBezTo>
                    <a:pt x="53" y="49"/>
                    <a:pt x="25" y="63"/>
                    <a:pt x="0" y="80"/>
                  </a:cubicBezTo>
                  <a:cubicBezTo>
                    <a:pt x="35" y="162"/>
                    <a:pt x="35" y="162"/>
                    <a:pt x="35" y="162"/>
                  </a:cubicBezTo>
                  <a:cubicBezTo>
                    <a:pt x="56" y="145"/>
                    <a:pt x="80" y="132"/>
                    <a:pt x="108" y="125"/>
                  </a:cubicBezTo>
                  <a:cubicBezTo>
                    <a:pt x="213" y="96"/>
                    <a:pt x="324" y="160"/>
                    <a:pt x="352" y="266"/>
                  </a:cubicBezTo>
                  <a:cubicBezTo>
                    <a:pt x="381" y="372"/>
                    <a:pt x="318" y="482"/>
                    <a:pt x="211" y="511"/>
                  </a:cubicBezTo>
                  <a:cubicBezTo>
                    <a:pt x="185" y="518"/>
                    <a:pt x="157" y="520"/>
                    <a:pt x="131" y="516"/>
                  </a:cubicBezTo>
                  <a:cubicBezTo>
                    <a:pt x="142" y="604"/>
                    <a:pt x="142" y="604"/>
                    <a:pt x="142" y="604"/>
                  </a:cubicBezTo>
                  <a:cubicBezTo>
                    <a:pt x="172" y="606"/>
                    <a:pt x="203" y="603"/>
                    <a:pt x="234" y="595"/>
                  </a:cubicBezTo>
                  <a:cubicBezTo>
                    <a:pt x="387" y="553"/>
                    <a:pt x="478" y="396"/>
                    <a:pt x="437" y="243"/>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grpSp>
      <p:grpSp>
        <p:nvGrpSpPr>
          <p:cNvPr id="82" name="组合 7"/>
          <p:cNvGrpSpPr>
            <a:grpSpLocks/>
          </p:cNvGrpSpPr>
          <p:nvPr/>
        </p:nvGrpSpPr>
        <p:grpSpPr bwMode="auto">
          <a:xfrm>
            <a:off x="6295235" y="2529291"/>
            <a:ext cx="1624013" cy="1449388"/>
            <a:chOff x="0" y="0"/>
            <a:chExt cx="1624013" cy="1449388"/>
          </a:xfrm>
          <a:solidFill>
            <a:schemeClr val="accent1">
              <a:lumMod val="50000"/>
            </a:schemeClr>
          </a:solidFill>
        </p:grpSpPr>
        <p:sp>
          <p:nvSpPr>
            <p:cNvPr id="83" name="Freeform 228"/>
            <p:cNvSpPr>
              <a:spLocks noChangeArrowheads="1"/>
            </p:cNvSpPr>
            <p:nvPr/>
          </p:nvSpPr>
          <p:spPr bwMode="auto">
            <a:xfrm>
              <a:off x="1236663" y="84138"/>
              <a:ext cx="200025" cy="190500"/>
            </a:xfrm>
            <a:custGeom>
              <a:avLst/>
              <a:gdLst>
                <a:gd name="T0" fmla="*/ 13891 w 72"/>
                <a:gd name="T1" fmla="*/ 190500 h 68"/>
                <a:gd name="T2" fmla="*/ 200025 w 72"/>
                <a:gd name="T3" fmla="*/ 36419 h 68"/>
                <a:gd name="T4" fmla="*/ 172244 w 72"/>
                <a:gd name="T5" fmla="*/ 0 h 68"/>
                <a:gd name="T6" fmla="*/ 0 w 72"/>
                <a:gd name="T7" fmla="*/ 173691 h 68"/>
                <a:gd name="T8" fmla="*/ 13891 w 72"/>
                <a:gd name="T9" fmla="*/ 190500 h 68"/>
                <a:gd name="T10" fmla="*/ 0 60000 65536"/>
                <a:gd name="T11" fmla="*/ 0 60000 65536"/>
                <a:gd name="T12" fmla="*/ 0 60000 65536"/>
                <a:gd name="T13" fmla="*/ 0 60000 65536"/>
                <a:gd name="T14" fmla="*/ 0 60000 65536"/>
                <a:gd name="T15" fmla="*/ 0 w 72"/>
                <a:gd name="T16" fmla="*/ 0 h 68"/>
                <a:gd name="T17" fmla="*/ 72 w 72"/>
                <a:gd name="T18" fmla="*/ 68 h 68"/>
              </a:gdLst>
              <a:ahLst/>
              <a:cxnLst>
                <a:cxn ang="T10">
                  <a:pos x="T0" y="T1"/>
                </a:cxn>
                <a:cxn ang="T11">
                  <a:pos x="T2" y="T3"/>
                </a:cxn>
                <a:cxn ang="T12">
                  <a:pos x="T4" y="T5"/>
                </a:cxn>
                <a:cxn ang="T13">
                  <a:pos x="T6" y="T7"/>
                </a:cxn>
                <a:cxn ang="T14">
                  <a:pos x="T8" y="T9"/>
                </a:cxn>
              </a:cxnLst>
              <a:rect l="T15" t="T16" r="T17" b="T18"/>
              <a:pathLst>
                <a:path w="72" h="68">
                  <a:moveTo>
                    <a:pt x="5" y="68"/>
                  </a:moveTo>
                  <a:cubicBezTo>
                    <a:pt x="72" y="13"/>
                    <a:pt x="72" y="13"/>
                    <a:pt x="72" y="13"/>
                  </a:cubicBezTo>
                  <a:cubicBezTo>
                    <a:pt x="68" y="7"/>
                    <a:pt x="67" y="7"/>
                    <a:pt x="62" y="0"/>
                  </a:cubicBezTo>
                  <a:cubicBezTo>
                    <a:pt x="0" y="62"/>
                    <a:pt x="0" y="62"/>
                    <a:pt x="0" y="62"/>
                  </a:cubicBezTo>
                  <a:cubicBezTo>
                    <a:pt x="3" y="66"/>
                    <a:pt x="2" y="65"/>
                    <a:pt x="5" y="68"/>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84" name="Freeform 229"/>
            <p:cNvSpPr>
              <a:spLocks noChangeArrowheads="1"/>
            </p:cNvSpPr>
            <p:nvPr/>
          </p:nvSpPr>
          <p:spPr bwMode="auto">
            <a:xfrm>
              <a:off x="1208088" y="47625"/>
              <a:ext cx="187325" cy="193675"/>
            </a:xfrm>
            <a:custGeom>
              <a:avLst/>
              <a:gdLst>
                <a:gd name="T0" fmla="*/ 11184 w 67"/>
                <a:gd name="T1" fmla="*/ 193675 h 69"/>
                <a:gd name="T2" fmla="*/ 187325 w 67"/>
                <a:gd name="T3" fmla="*/ 25262 h 69"/>
                <a:gd name="T4" fmla="*/ 159366 w 67"/>
                <a:gd name="T5" fmla="*/ 0 h 69"/>
                <a:gd name="T6" fmla="*/ 0 w 67"/>
                <a:gd name="T7" fmla="*/ 182447 h 69"/>
                <a:gd name="T8" fmla="*/ 11184 w 67"/>
                <a:gd name="T9" fmla="*/ 193675 h 69"/>
                <a:gd name="T10" fmla="*/ 0 60000 65536"/>
                <a:gd name="T11" fmla="*/ 0 60000 65536"/>
                <a:gd name="T12" fmla="*/ 0 60000 65536"/>
                <a:gd name="T13" fmla="*/ 0 60000 65536"/>
                <a:gd name="T14" fmla="*/ 0 60000 65536"/>
                <a:gd name="T15" fmla="*/ 0 w 67"/>
                <a:gd name="T16" fmla="*/ 0 h 69"/>
                <a:gd name="T17" fmla="*/ 67 w 67"/>
                <a:gd name="T18" fmla="*/ 69 h 69"/>
              </a:gdLst>
              <a:ahLst/>
              <a:cxnLst>
                <a:cxn ang="T10">
                  <a:pos x="T0" y="T1"/>
                </a:cxn>
                <a:cxn ang="T11">
                  <a:pos x="T2" y="T3"/>
                </a:cxn>
                <a:cxn ang="T12">
                  <a:pos x="T4" y="T5"/>
                </a:cxn>
                <a:cxn ang="T13">
                  <a:pos x="T6" y="T7"/>
                </a:cxn>
                <a:cxn ang="T14">
                  <a:pos x="T8" y="T9"/>
                </a:cxn>
              </a:cxnLst>
              <a:rect l="T15" t="T16" r="T17" b="T18"/>
              <a:pathLst>
                <a:path w="67" h="69">
                  <a:moveTo>
                    <a:pt x="4" y="69"/>
                  </a:moveTo>
                  <a:cubicBezTo>
                    <a:pt x="67" y="9"/>
                    <a:pt x="67" y="9"/>
                    <a:pt x="67" y="9"/>
                  </a:cubicBezTo>
                  <a:cubicBezTo>
                    <a:pt x="62" y="5"/>
                    <a:pt x="62" y="4"/>
                    <a:pt x="57" y="0"/>
                  </a:cubicBezTo>
                  <a:cubicBezTo>
                    <a:pt x="0" y="65"/>
                    <a:pt x="0" y="65"/>
                    <a:pt x="0" y="65"/>
                  </a:cubicBezTo>
                  <a:cubicBezTo>
                    <a:pt x="3" y="67"/>
                    <a:pt x="1" y="66"/>
                    <a:pt x="4" y="69"/>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85" name="Freeform 230"/>
            <p:cNvSpPr>
              <a:spLocks noChangeArrowheads="1"/>
            </p:cNvSpPr>
            <p:nvPr/>
          </p:nvSpPr>
          <p:spPr bwMode="auto">
            <a:xfrm>
              <a:off x="1266825" y="146050"/>
              <a:ext cx="228600" cy="173038"/>
            </a:xfrm>
            <a:custGeom>
              <a:avLst/>
              <a:gdLst>
                <a:gd name="T0" fmla="*/ 16727 w 82"/>
                <a:gd name="T1" fmla="*/ 173038 h 62"/>
                <a:gd name="T2" fmla="*/ 228600 w 82"/>
                <a:gd name="T3" fmla="*/ 53028 h 62"/>
                <a:gd name="T4" fmla="*/ 189571 w 82"/>
                <a:gd name="T5" fmla="*/ 0 h 62"/>
                <a:gd name="T6" fmla="*/ 0 w 82"/>
                <a:gd name="T7" fmla="*/ 150711 h 62"/>
                <a:gd name="T8" fmla="*/ 16727 w 82"/>
                <a:gd name="T9" fmla="*/ 173038 h 62"/>
                <a:gd name="T10" fmla="*/ 0 60000 65536"/>
                <a:gd name="T11" fmla="*/ 0 60000 65536"/>
                <a:gd name="T12" fmla="*/ 0 60000 65536"/>
                <a:gd name="T13" fmla="*/ 0 60000 65536"/>
                <a:gd name="T14" fmla="*/ 0 60000 65536"/>
                <a:gd name="T15" fmla="*/ 0 w 82"/>
                <a:gd name="T16" fmla="*/ 0 h 62"/>
                <a:gd name="T17" fmla="*/ 82 w 82"/>
                <a:gd name="T18" fmla="*/ 62 h 62"/>
              </a:gdLst>
              <a:ahLst/>
              <a:cxnLst>
                <a:cxn ang="T10">
                  <a:pos x="T0" y="T1"/>
                </a:cxn>
                <a:cxn ang="T11">
                  <a:pos x="T2" y="T3"/>
                </a:cxn>
                <a:cxn ang="T12">
                  <a:pos x="T4" y="T5"/>
                </a:cxn>
                <a:cxn ang="T13">
                  <a:pos x="T6" y="T7"/>
                </a:cxn>
                <a:cxn ang="T14">
                  <a:pos x="T8" y="T9"/>
                </a:cxn>
              </a:cxnLst>
              <a:rect l="T15" t="T16" r="T17" b="T18"/>
              <a:pathLst>
                <a:path w="82" h="62">
                  <a:moveTo>
                    <a:pt x="6" y="62"/>
                  </a:moveTo>
                  <a:cubicBezTo>
                    <a:pt x="82" y="19"/>
                    <a:pt x="82" y="19"/>
                    <a:pt x="82" y="19"/>
                  </a:cubicBezTo>
                  <a:cubicBezTo>
                    <a:pt x="75" y="9"/>
                    <a:pt x="75" y="9"/>
                    <a:pt x="68" y="0"/>
                  </a:cubicBezTo>
                  <a:cubicBezTo>
                    <a:pt x="0" y="54"/>
                    <a:pt x="0" y="54"/>
                    <a:pt x="0" y="54"/>
                  </a:cubicBezTo>
                  <a:cubicBezTo>
                    <a:pt x="4" y="59"/>
                    <a:pt x="2" y="56"/>
                    <a:pt x="6" y="62"/>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86" name="Freeform 231"/>
            <p:cNvSpPr>
              <a:spLocks noChangeArrowheads="1"/>
            </p:cNvSpPr>
            <p:nvPr/>
          </p:nvSpPr>
          <p:spPr bwMode="auto">
            <a:xfrm>
              <a:off x="1295400" y="220663"/>
              <a:ext cx="247650" cy="146050"/>
            </a:xfrm>
            <a:custGeom>
              <a:avLst/>
              <a:gdLst>
                <a:gd name="T0" fmla="*/ 16696 w 89"/>
                <a:gd name="T1" fmla="*/ 146050 h 52"/>
                <a:gd name="T2" fmla="*/ 247650 w 89"/>
                <a:gd name="T3" fmla="*/ 67408 h 52"/>
                <a:gd name="T4" fmla="*/ 214259 w 89"/>
                <a:gd name="T5" fmla="*/ 0 h 52"/>
                <a:gd name="T6" fmla="*/ 0 w 89"/>
                <a:gd name="T7" fmla="*/ 115155 h 52"/>
                <a:gd name="T8" fmla="*/ 16696 w 89"/>
                <a:gd name="T9" fmla="*/ 146050 h 52"/>
                <a:gd name="T10" fmla="*/ 0 60000 65536"/>
                <a:gd name="T11" fmla="*/ 0 60000 65536"/>
                <a:gd name="T12" fmla="*/ 0 60000 65536"/>
                <a:gd name="T13" fmla="*/ 0 60000 65536"/>
                <a:gd name="T14" fmla="*/ 0 60000 65536"/>
                <a:gd name="T15" fmla="*/ 0 w 89"/>
                <a:gd name="T16" fmla="*/ 0 h 52"/>
                <a:gd name="T17" fmla="*/ 89 w 89"/>
                <a:gd name="T18" fmla="*/ 52 h 52"/>
              </a:gdLst>
              <a:ahLst/>
              <a:cxnLst>
                <a:cxn ang="T10">
                  <a:pos x="T0" y="T1"/>
                </a:cxn>
                <a:cxn ang="T11">
                  <a:pos x="T2" y="T3"/>
                </a:cxn>
                <a:cxn ang="T12">
                  <a:pos x="T4" y="T5"/>
                </a:cxn>
                <a:cxn ang="T13">
                  <a:pos x="T6" y="T7"/>
                </a:cxn>
                <a:cxn ang="T14">
                  <a:pos x="T8" y="T9"/>
                </a:cxn>
              </a:cxnLst>
              <a:rect l="T15" t="T16" r="T17" b="T18"/>
              <a:pathLst>
                <a:path w="89" h="52">
                  <a:moveTo>
                    <a:pt x="6" y="52"/>
                  </a:moveTo>
                  <a:cubicBezTo>
                    <a:pt x="89" y="24"/>
                    <a:pt x="89" y="24"/>
                    <a:pt x="89" y="24"/>
                  </a:cubicBezTo>
                  <a:cubicBezTo>
                    <a:pt x="85" y="14"/>
                    <a:pt x="82" y="9"/>
                    <a:pt x="77" y="0"/>
                  </a:cubicBezTo>
                  <a:cubicBezTo>
                    <a:pt x="0" y="41"/>
                    <a:pt x="0" y="41"/>
                    <a:pt x="0" y="41"/>
                  </a:cubicBezTo>
                  <a:cubicBezTo>
                    <a:pt x="3" y="46"/>
                    <a:pt x="3" y="46"/>
                    <a:pt x="6" y="52"/>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87" name="Freeform 232"/>
            <p:cNvSpPr>
              <a:spLocks noChangeArrowheads="1"/>
            </p:cNvSpPr>
            <p:nvPr/>
          </p:nvSpPr>
          <p:spPr bwMode="auto">
            <a:xfrm>
              <a:off x="1322388" y="304800"/>
              <a:ext cx="260350" cy="106363"/>
            </a:xfrm>
            <a:custGeom>
              <a:avLst/>
              <a:gdLst>
                <a:gd name="T0" fmla="*/ 11198 w 93"/>
                <a:gd name="T1" fmla="*/ 106363 h 38"/>
                <a:gd name="T2" fmla="*/ 260350 w 93"/>
                <a:gd name="T3" fmla="*/ 81172 h 38"/>
                <a:gd name="T4" fmla="*/ 229556 w 93"/>
                <a:gd name="T5" fmla="*/ 0 h 38"/>
                <a:gd name="T6" fmla="*/ 0 w 93"/>
                <a:gd name="T7" fmla="*/ 81172 h 38"/>
                <a:gd name="T8" fmla="*/ 11198 w 93"/>
                <a:gd name="T9" fmla="*/ 106363 h 38"/>
                <a:gd name="T10" fmla="*/ 0 60000 65536"/>
                <a:gd name="T11" fmla="*/ 0 60000 65536"/>
                <a:gd name="T12" fmla="*/ 0 60000 65536"/>
                <a:gd name="T13" fmla="*/ 0 60000 65536"/>
                <a:gd name="T14" fmla="*/ 0 60000 65536"/>
                <a:gd name="T15" fmla="*/ 0 w 93"/>
                <a:gd name="T16" fmla="*/ 0 h 38"/>
                <a:gd name="T17" fmla="*/ 93 w 93"/>
                <a:gd name="T18" fmla="*/ 38 h 38"/>
              </a:gdLst>
              <a:ahLst/>
              <a:cxnLst>
                <a:cxn ang="T10">
                  <a:pos x="T0" y="T1"/>
                </a:cxn>
                <a:cxn ang="T11">
                  <a:pos x="T2" y="T3"/>
                </a:cxn>
                <a:cxn ang="T12">
                  <a:pos x="T4" y="T5"/>
                </a:cxn>
                <a:cxn ang="T13">
                  <a:pos x="T6" y="T7"/>
                </a:cxn>
                <a:cxn ang="T14">
                  <a:pos x="T8" y="T9"/>
                </a:cxn>
              </a:cxnLst>
              <a:rect l="T15" t="T16" r="T17" b="T18"/>
              <a:pathLst>
                <a:path w="93" h="38">
                  <a:moveTo>
                    <a:pt x="4" y="38"/>
                  </a:moveTo>
                  <a:cubicBezTo>
                    <a:pt x="93" y="29"/>
                    <a:pt x="93" y="29"/>
                    <a:pt x="93" y="29"/>
                  </a:cubicBezTo>
                  <a:cubicBezTo>
                    <a:pt x="89" y="16"/>
                    <a:pt x="88" y="13"/>
                    <a:pt x="82" y="0"/>
                  </a:cubicBezTo>
                  <a:cubicBezTo>
                    <a:pt x="0" y="29"/>
                    <a:pt x="0" y="29"/>
                    <a:pt x="0" y="29"/>
                  </a:cubicBezTo>
                  <a:cubicBezTo>
                    <a:pt x="3" y="35"/>
                    <a:pt x="2" y="32"/>
                    <a:pt x="4" y="38"/>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88" name="Freeform 233"/>
            <p:cNvSpPr>
              <a:spLocks noChangeArrowheads="1"/>
            </p:cNvSpPr>
            <p:nvPr/>
          </p:nvSpPr>
          <p:spPr bwMode="auto">
            <a:xfrm>
              <a:off x="247650" y="39688"/>
              <a:ext cx="190500" cy="198438"/>
            </a:xfrm>
            <a:custGeom>
              <a:avLst/>
              <a:gdLst>
                <a:gd name="T0" fmla="*/ 190500 w 68"/>
                <a:gd name="T1" fmla="*/ 184463 h 71"/>
                <a:gd name="T2" fmla="*/ 30816 w 68"/>
                <a:gd name="T3" fmla="*/ 0 h 71"/>
                <a:gd name="T4" fmla="*/ 0 w 68"/>
                <a:gd name="T5" fmla="*/ 30744 h 71"/>
                <a:gd name="T6" fmla="*/ 176493 w 68"/>
                <a:gd name="T7" fmla="*/ 198438 h 71"/>
                <a:gd name="T8" fmla="*/ 190500 w 68"/>
                <a:gd name="T9" fmla="*/ 184463 h 71"/>
                <a:gd name="T10" fmla="*/ 0 60000 65536"/>
                <a:gd name="T11" fmla="*/ 0 60000 65536"/>
                <a:gd name="T12" fmla="*/ 0 60000 65536"/>
                <a:gd name="T13" fmla="*/ 0 60000 65536"/>
                <a:gd name="T14" fmla="*/ 0 60000 65536"/>
                <a:gd name="T15" fmla="*/ 0 w 68"/>
                <a:gd name="T16" fmla="*/ 0 h 71"/>
                <a:gd name="T17" fmla="*/ 68 w 68"/>
                <a:gd name="T18" fmla="*/ 71 h 71"/>
              </a:gdLst>
              <a:ahLst/>
              <a:cxnLst>
                <a:cxn ang="T10">
                  <a:pos x="T0" y="T1"/>
                </a:cxn>
                <a:cxn ang="T11">
                  <a:pos x="T2" y="T3"/>
                </a:cxn>
                <a:cxn ang="T12">
                  <a:pos x="T4" y="T5"/>
                </a:cxn>
                <a:cxn ang="T13">
                  <a:pos x="T6" y="T7"/>
                </a:cxn>
                <a:cxn ang="T14">
                  <a:pos x="T8" y="T9"/>
                </a:cxn>
              </a:cxnLst>
              <a:rect l="T15" t="T16" r="T17" b="T18"/>
              <a:pathLst>
                <a:path w="68" h="71">
                  <a:moveTo>
                    <a:pt x="68" y="66"/>
                  </a:moveTo>
                  <a:cubicBezTo>
                    <a:pt x="11" y="0"/>
                    <a:pt x="11" y="0"/>
                    <a:pt x="11" y="0"/>
                  </a:cubicBezTo>
                  <a:cubicBezTo>
                    <a:pt x="6" y="4"/>
                    <a:pt x="5" y="5"/>
                    <a:pt x="0" y="11"/>
                  </a:cubicBezTo>
                  <a:cubicBezTo>
                    <a:pt x="63" y="71"/>
                    <a:pt x="63" y="71"/>
                    <a:pt x="63" y="71"/>
                  </a:cubicBezTo>
                  <a:cubicBezTo>
                    <a:pt x="66" y="68"/>
                    <a:pt x="64" y="69"/>
                    <a:pt x="68" y="66"/>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89" name="Freeform 234"/>
            <p:cNvSpPr>
              <a:spLocks noChangeArrowheads="1"/>
            </p:cNvSpPr>
            <p:nvPr/>
          </p:nvSpPr>
          <p:spPr bwMode="auto">
            <a:xfrm>
              <a:off x="293688" y="0"/>
              <a:ext cx="171450" cy="204788"/>
            </a:xfrm>
            <a:custGeom>
              <a:avLst/>
              <a:gdLst>
                <a:gd name="T0" fmla="*/ 171450 w 62"/>
                <a:gd name="T1" fmla="*/ 196372 h 73"/>
                <a:gd name="T2" fmla="*/ 27653 w 62"/>
                <a:gd name="T3" fmla="*/ 0 h 73"/>
                <a:gd name="T4" fmla="*/ 0 w 62"/>
                <a:gd name="T5" fmla="*/ 25248 h 73"/>
                <a:gd name="T6" fmla="*/ 160389 w 62"/>
                <a:gd name="T7" fmla="*/ 204788 h 73"/>
                <a:gd name="T8" fmla="*/ 171450 w 62"/>
                <a:gd name="T9" fmla="*/ 196372 h 73"/>
                <a:gd name="T10" fmla="*/ 0 60000 65536"/>
                <a:gd name="T11" fmla="*/ 0 60000 65536"/>
                <a:gd name="T12" fmla="*/ 0 60000 65536"/>
                <a:gd name="T13" fmla="*/ 0 60000 65536"/>
                <a:gd name="T14" fmla="*/ 0 60000 65536"/>
                <a:gd name="T15" fmla="*/ 0 w 62"/>
                <a:gd name="T16" fmla="*/ 0 h 73"/>
                <a:gd name="T17" fmla="*/ 62 w 62"/>
                <a:gd name="T18" fmla="*/ 73 h 73"/>
              </a:gdLst>
              <a:ahLst/>
              <a:cxnLst>
                <a:cxn ang="T10">
                  <a:pos x="T0" y="T1"/>
                </a:cxn>
                <a:cxn ang="T11">
                  <a:pos x="T2" y="T3"/>
                </a:cxn>
                <a:cxn ang="T12">
                  <a:pos x="T4" y="T5"/>
                </a:cxn>
                <a:cxn ang="T13">
                  <a:pos x="T6" y="T7"/>
                </a:cxn>
                <a:cxn ang="T14">
                  <a:pos x="T8" y="T9"/>
                </a:cxn>
              </a:cxnLst>
              <a:rect l="T15" t="T16" r="T17" b="T18"/>
              <a:pathLst>
                <a:path w="62" h="73">
                  <a:moveTo>
                    <a:pt x="62" y="70"/>
                  </a:moveTo>
                  <a:cubicBezTo>
                    <a:pt x="10" y="0"/>
                    <a:pt x="10" y="0"/>
                    <a:pt x="10" y="0"/>
                  </a:cubicBezTo>
                  <a:cubicBezTo>
                    <a:pt x="5" y="4"/>
                    <a:pt x="5" y="5"/>
                    <a:pt x="0" y="9"/>
                  </a:cubicBezTo>
                  <a:cubicBezTo>
                    <a:pt x="58" y="73"/>
                    <a:pt x="58" y="73"/>
                    <a:pt x="58" y="73"/>
                  </a:cubicBezTo>
                  <a:cubicBezTo>
                    <a:pt x="61" y="71"/>
                    <a:pt x="60" y="72"/>
                    <a:pt x="62" y="7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90" name="Freeform 235"/>
            <p:cNvSpPr>
              <a:spLocks noChangeArrowheads="1"/>
            </p:cNvSpPr>
            <p:nvPr/>
          </p:nvSpPr>
          <p:spPr bwMode="auto">
            <a:xfrm>
              <a:off x="184150" y="90488"/>
              <a:ext cx="217488" cy="188913"/>
            </a:xfrm>
            <a:custGeom>
              <a:avLst/>
              <a:gdLst>
                <a:gd name="T0" fmla="*/ 217488 w 78"/>
                <a:gd name="T1" fmla="*/ 166688 h 68"/>
                <a:gd name="T2" fmla="*/ 41825 w 78"/>
                <a:gd name="T3" fmla="*/ 0 h 68"/>
                <a:gd name="T4" fmla="*/ 0 w 78"/>
                <a:gd name="T5" fmla="*/ 52785 h 68"/>
                <a:gd name="T6" fmla="*/ 203546 w 78"/>
                <a:gd name="T7" fmla="*/ 188913 h 68"/>
                <a:gd name="T8" fmla="*/ 217488 w 78"/>
                <a:gd name="T9" fmla="*/ 166688 h 68"/>
                <a:gd name="T10" fmla="*/ 0 60000 65536"/>
                <a:gd name="T11" fmla="*/ 0 60000 65536"/>
                <a:gd name="T12" fmla="*/ 0 60000 65536"/>
                <a:gd name="T13" fmla="*/ 0 60000 65536"/>
                <a:gd name="T14" fmla="*/ 0 60000 65536"/>
                <a:gd name="T15" fmla="*/ 0 w 78"/>
                <a:gd name="T16" fmla="*/ 0 h 68"/>
                <a:gd name="T17" fmla="*/ 78 w 78"/>
                <a:gd name="T18" fmla="*/ 68 h 68"/>
              </a:gdLst>
              <a:ahLst/>
              <a:cxnLst>
                <a:cxn ang="T10">
                  <a:pos x="T0" y="T1"/>
                </a:cxn>
                <a:cxn ang="T11">
                  <a:pos x="T2" y="T3"/>
                </a:cxn>
                <a:cxn ang="T12">
                  <a:pos x="T4" y="T5"/>
                </a:cxn>
                <a:cxn ang="T13">
                  <a:pos x="T6" y="T7"/>
                </a:cxn>
                <a:cxn ang="T14">
                  <a:pos x="T8" y="T9"/>
                </a:cxn>
              </a:cxnLst>
              <a:rect l="T15" t="T16" r="T17" b="T18"/>
              <a:pathLst>
                <a:path w="78" h="68">
                  <a:moveTo>
                    <a:pt x="78" y="60"/>
                  </a:moveTo>
                  <a:cubicBezTo>
                    <a:pt x="15" y="0"/>
                    <a:pt x="15" y="0"/>
                    <a:pt x="15" y="0"/>
                  </a:cubicBezTo>
                  <a:cubicBezTo>
                    <a:pt x="7" y="10"/>
                    <a:pt x="7" y="9"/>
                    <a:pt x="0" y="19"/>
                  </a:cubicBezTo>
                  <a:cubicBezTo>
                    <a:pt x="73" y="68"/>
                    <a:pt x="73" y="68"/>
                    <a:pt x="73" y="68"/>
                  </a:cubicBezTo>
                  <a:cubicBezTo>
                    <a:pt x="77" y="62"/>
                    <a:pt x="74" y="66"/>
                    <a:pt x="78" y="6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91" name="Freeform 236"/>
            <p:cNvSpPr>
              <a:spLocks noChangeArrowheads="1"/>
            </p:cNvSpPr>
            <p:nvPr/>
          </p:nvSpPr>
          <p:spPr bwMode="auto">
            <a:xfrm>
              <a:off x="128588" y="161925"/>
              <a:ext cx="242888" cy="161925"/>
            </a:xfrm>
            <a:custGeom>
              <a:avLst/>
              <a:gdLst>
                <a:gd name="T0" fmla="*/ 242888 w 87"/>
                <a:gd name="T1" fmla="*/ 134007 h 58"/>
                <a:gd name="T2" fmla="*/ 36294 w 87"/>
                <a:gd name="T3" fmla="*/ 0 h 58"/>
                <a:gd name="T4" fmla="*/ 0 w 87"/>
                <a:gd name="T5" fmla="*/ 61420 h 58"/>
                <a:gd name="T6" fmla="*/ 223345 w 87"/>
                <a:gd name="T7" fmla="*/ 161925 h 58"/>
                <a:gd name="T8" fmla="*/ 242888 w 87"/>
                <a:gd name="T9" fmla="*/ 134007 h 58"/>
                <a:gd name="T10" fmla="*/ 0 60000 65536"/>
                <a:gd name="T11" fmla="*/ 0 60000 65536"/>
                <a:gd name="T12" fmla="*/ 0 60000 65536"/>
                <a:gd name="T13" fmla="*/ 0 60000 65536"/>
                <a:gd name="T14" fmla="*/ 0 60000 65536"/>
                <a:gd name="T15" fmla="*/ 0 w 87"/>
                <a:gd name="T16" fmla="*/ 0 h 58"/>
                <a:gd name="T17" fmla="*/ 87 w 87"/>
                <a:gd name="T18" fmla="*/ 58 h 58"/>
              </a:gdLst>
              <a:ahLst/>
              <a:cxnLst>
                <a:cxn ang="T10">
                  <a:pos x="T0" y="T1"/>
                </a:cxn>
                <a:cxn ang="T11">
                  <a:pos x="T2" y="T3"/>
                </a:cxn>
                <a:cxn ang="T12">
                  <a:pos x="T4" y="T5"/>
                </a:cxn>
                <a:cxn ang="T13">
                  <a:pos x="T6" y="T7"/>
                </a:cxn>
                <a:cxn ang="T14">
                  <a:pos x="T8" y="T9"/>
                </a:cxn>
              </a:cxnLst>
              <a:rect l="T15" t="T16" r="T17" b="T18"/>
              <a:pathLst>
                <a:path w="87" h="58">
                  <a:moveTo>
                    <a:pt x="87" y="48"/>
                  </a:moveTo>
                  <a:cubicBezTo>
                    <a:pt x="13" y="0"/>
                    <a:pt x="13" y="0"/>
                    <a:pt x="13" y="0"/>
                  </a:cubicBezTo>
                  <a:cubicBezTo>
                    <a:pt x="8" y="8"/>
                    <a:pt x="5" y="13"/>
                    <a:pt x="0" y="22"/>
                  </a:cubicBezTo>
                  <a:cubicBezTo>
                    <a:pt x="80" y="58"/>
                    <a:pt x="80" y="58"/>
                    <a:pt x="80" y="58"/>
                  </a:cubicBezTo>
                  <a:cubicBezTo>
                    <a:pt x="83" y="53"/>
                    <a:pt x="84" y="53"/>
                    <a:pt x="87" y="48"/>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92" name="Freeform 237"/>
            <p:cNvSpPr>
              <a:spLocks noChangeArrowheads="1"/>
            </p:cNvSpPr>
            <p:nvPr/>
          </p:nvSpPr>
          <p:spPr bwMode="auto">
            <a:xfrm>
              <a:off x="77788" y="242888"/>
              <a:ext cx="261938" cy="123825"/>
            </a:xfrm>
            <a:custGeom>
              <a:avLst/>
              <a:gdLst>
                <a:gd name="T0" fmla="*/ 261938 w 94"/>
                <a:gd name="T1" fmla="*/ 98497 h 44"/>
                <a:gd name="T2" fmla="*/ 39012 w 94"/>
                <a:gd name="T3" fmla="*/ 0 h 44"/>
                <a:gd name="T4" fmla="*/ 0 w 94"/>
                <a:gd name="T5" fmla="*/ 78798 h 44"/>
                <a:gd name="T6" fmla="*/ 248005 w 94"/>
                <a:gd name="T7" fmla="*/ 123825 h 44"/>
                <a:gd name="T8" fmla="*/ 261938 w 94"/>
                <a:gd name="T9" fmla="*/ 98497 h 44"/>
                <a:gd name="T10" fmla="*/ 0 60000 65536"/>
                <a:gd name="T11" fmla="*/ 0 60000 65536"/>
                <a:gd name="T12" fmla="*/ 0 60000 65536"/>
                <a:gd name="T13" fmla="*/ 0 60000 65536"/>
                <a:gd name="T14" fmla="*/ 0 60000 65536"/>
                <a:gd name="T15" fmla="*/ 0 w 94"/>
                <a:gd name="T16" fmla="*/ 0 h 44"/>
                <a:gd name="T17" fmla="*/ 94 w 94"/>
                <a:gd name="T18" fmla="*/ 44 h 44"/>
              </a:gdLst>
              <a:ahLst/>
              <a:cxnLst>
                <a:cxn ang="T10">
                  <a:pos x="T0" y="T1"/>
                </a:cxn>
                <a:cxn ang="T11">
                  <a:pos x="T2" y="T3"/>
                </a:cxn>
                <a:cxn ang="T12">
                  <a:pos x="T4" y="T5"/>
                </a:cxn>
                <a:cxn ang="T13">
                  <a:pos x="T6" y="T7"/>
                </a:cxn>
                <a:cxn ang="T14">
                  <a:pos x="T8" y="T9"/>
                </a:cxn>
              </a:cxnLst>
              <a:rect l="T15" t="T16" r="T17" b="T18"/>
              <a:pathLst>
                <a:path w="94" h="44">
                  <a:moveTo>
                    <a:pt x="94" y="35"/>
                  </a:moveTo>
                  <a:cubicBezTo>
                    <a:pt x="14" y="0"/>
                    <a:pt x="14" y="0"/>
                    <a:pt x="14" y="0"/>
                  </a:cubicBezTo>
                  <a:cubicBezTo>
                    <a:pt x="7" y="11"/>
                    <a:pt x="5" y="16"/>
                    <a:pt x="0" y="28"/>
                  </a:cubicBezTo>
                  <a:cubicBezTo>
                    <a:pt x="89" y="44"/>
                    <a:pt x="89" y="44"/>
                    <a:pt x="89" y="44"/>
                  </a:cubicBezTo>
                  <a:cubicBezTo>
                    <a:pt x="92" y="38"/>
                    <a:pt x="90" y="42"/>
                    <a:pt x="94" y="35"/>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sp>
          <p:nvSpPr>
            <p:cNvPr id="93" name="Freeform 238"/>
            <p:cNvSpPr>
              <a:spLocks noChangeArrowheads="1"/>
            </p:cNvSpPr>
            <p:nvPr/>
          </p:nvSpPr>
          <p:spPr bwMode="auto">
            <a:xfrm>
              <a:off x="0" y="341313"/>
              <a:ext cx="1624013" cy="1108075"/>
            </a:xfrm>
            <a:custGeom>
              <a:avLst/>
              <a:gdLst>
                <a:gd name="T0" fmla="*/ 784102 w 582"/>
                <a:gd name="T1" fmla="*/ 1088537 h 397"/>
                <a:gd name="T2" fmla="*/ 784102 w 582"/>
                <a:gd name="T3" fmla="*/ 1088537 h 397"/>
                <a:gd name="T4" fmla="*/ 784102 w 582"/>
                <a:gd name="T5" fmla="*/ 1088537 h 397"/>
                <a:gd name="T6" fmla="*/ 784102 w 582"/>
                <a:gd name="T7" fmla="*/ 1088537 h 397"/>
                <a:gd name="T8" fmla="*/ 784102 w 582"/>
                <a:gd name="T9" fmla="*/ 1088537 h 397"/>
                <a:gd name="T10" fmla="*/ 1618432 w 582"/>
                <a:gd name="T11" fmla="*/ 323770 h 397"/>
                <a:gd name="T12" fmla="*/ 1587738 w 582"/>
                <a:gd name="T13" fmla="*/ 66987 h 397"/>
                <a:gd name="T14" fmla="*/ 1342183 w 582"/>
                <a:gd name="T15" fmla="*/ 89316 h 397"/>
                <a:gd name="T16" fmla="*/ 1378458 w 582"/>
                <a:gd name="T17" fmla="*/ 312606 h 397"/>
                <a:gd name="T18" fmla="*/ 795264 w 582"/>
                <a:gd name="T19" fmla="*/ 845710 h 397"/>
                <a:gd name="T20" fmla="*/ 262298 w 582"/>
                <a:gd name="T21" fmla="*/ 262365 h 397"/>
                <a:gd name="T22" fmla="*/ 318106 w 582"/>
                <a:gd name="T23" fmla="*/ 44658 h 397"/>
                <a:gd name="T24" fmla="*/ 72550 w 582"/>
                <a:gd name="T25" fmla="*/ 0 h 397"/>
                <a:gd name="T26" fmla="*/ 19533 w 582"/>
                <a:gd name="T27" fmla="*/ 253992 h 397"/>
                <a:gd name="T28" fmla="*/ 784102 w 582"/>
                <a:gd name="T29" fmla="*/ 1088537 h 3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2"/>
                <a:gd name="T46" fmla="*/ 0 h 397"/>
                <a:gd name="T47" fmla="*/ 582 w 582"/>
                <a:gd name="T48" fmla="*/ 397 h 39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2" h="397">
                  <a:moveTo>
                    <a:pt x="281" y="390"/>
                  </a:moveTo>
                  <a:cubicBezTo>
                    <a:pt x="281" y="390"/>
                    <a:pt x="281" y="390"/>
                    <a:pt x="281" y="390"/>
                  </a:cubicBezTo>
                  <a:cubicBezTo>
                    <a:pt x="281" y="390"/>
                    <a:pt x="281" y="390"/>
                    <a:pt x="281" y="390"/>
                  </a:cubicBezTo>
                  <a:cubicBezTo>
                    <a:pt x="281" y="390"/>
                    <a:pt x="281" y="390"/>
                    <a:pt x="281" y="390"/>
                  </a:cubicBezTo>
                  <a:cubicBezTo>
                    <a:pt x="281" y="390"/>
                    <a:pt x="281" y="390"/>
                    <a:pt x="281" y="390"/>
                  </a:cubicBezTo>
                  <a:cubicBezTo>
                    <a:pt x="439" y="397"/>
                    <a:pt x="573" y="274"/>
                    <a:pt x="580" y="116"/>
                  </a:cubicBezTo>
                  <a:cubicBezTo>
                    <a:pt x="582" y="84"/>
                    <a:pt x="578" y="53"/>
                    <a:pt x="569" y="24"/>
                  </a:cubicBezTo>
                  <a:cubicBezTo>
                    <a:pt x="481" y="32"/>
                    <a:pt x="481" y="32"/>
                    <a:pt x="481" y="32"/>
                  </a:cubicBezTo>
                  <a:cubicBezTo>
                    <a:pt x="490" y="57"/>
                    <a:pt x="495" y="84"/>
                    <a:pt x="494" y="112"/>
                  </a:cubicBezTo>
                  <a:cubicBezTo>
                    <a:pt x="489" y="222"/>
                    <a:pt x="395" y="308"/>
                    <a:pt x="285" y="303"/>
                  </a:cubicBezTo>
                  <a:cubicBezTo>
                    <a:pt x="175" y="298"/>
                    <a:pt x="89" y="205"/>
                    <a:pt x="94" y="94"/>
                  </a:cubicBezTo>
                  <a:cubicBezTo>
                    <a:pt x="95" y="66"/>
                    <a:pt x="102" y="40"/>
                    <a:pt x="114" y="16"/>
                  </a:cubicBezTo>
                  <a:cubicBezTo>
                    <a:pt x="26" y="0"/>
                    <a:pt x="26" y="0"/>
                    <a:pt x="26" y="0"/>
                  </a:cubicBezTo>
                  <a:cubicBezTo>
                    <a:pt x="15" y="28"/>
                    <a:pt x="8" y="58"/>
                    <a:pt x="7" y="91"/>
                  </a:cubicBezTo>
                  <a:cubicBezTo>
                    <a:pt x="0" y="249"/>
                    <a:pt x="123" y="382"/>
                    <a:pt x="281" y="390"/>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sz="2800">
                <a:solidFill>
                  <a:schemeClr val="accent1"/>
                </a:solidFill>
              </a:endParaRPr>
            </a:p>
          </p:txBody>
        </p:sp>
      </p:grpSp>
      <p:grpSp>
        <p:nvGrpSpPr>
          <p:cNvPr id="94" name="组合 8"/>
          <p:cNvGrpSpPr>
            <a:grpSpLocks/>
          </p:cNvGrpSpPr>
          <p:nvPr/>
        </p:nvGrpSpPr>
        <p:grpSpPr bwMode="auto">
          <a:xfrm>
            <a:off x="8347629" y="2407054"/>
            <a:ext cx="1487487" cy="1644650"/>
            <a:chOff x="0" y="0"/>
            <a:chExt cx="1487487" cy="1644650"/>
          </a:xfrm>
          <a:solidFill>
            <a:schemeClr val="accent1">
              <a:lumMod val="50000"/>
            </a:schemeClr>
          </a:solidFill>
        </p:grpSpPr>
        <p:sp>
          <p:nvSpPr>
            <p:cNvPr id="95" name="Freeform 242"/>
            <p:cNvSpPr>
              <a:spLocks noChangeArrowheads="1"/>
            </p:cNvSpPr>
            <p:nvPr/>
          </p:nvSpPr>
          <p:spPr bwMode="auto">
            <a:xfrm>
              <a:off x="1171575" y="1270001"/>
              <a:ext cx="179388" cy="209550"/>
            </a:xfrm>
            <a:custGeom>
              <a:avLst/>
              <a:gdLst>
                <a:gd name="T0" fmla="*/ 0 w 64"/>
                <a:gd name="T1" fmla="*/ 13970 h 75"/>
                <a:gd name="T2" fmla="*/ 145753 w 64"/>
                <a:gd name="T3" fmla="*/ 209550 h 75"/>
                <a:gd name="T4" fmla="*/ 179388 w 64"/>
                <a:gd name="T5" fmla="*/ 181610 h 75"/>
                <a:gd name="T6" fmla="*/ 19621 w 64"/>
                <a:gd name="T7" fmla="*/ 0 h 75"/>
                <a:gd name="T8" fmla="*/ 0 w 64"/>
                <a:gd name="T9" fmla="*/ 13970 h 75"/>
                <a:gd name="T10" fmla="*/ 0 60000 65536"/>
                <a:gd name="T11" fmla="*/ 0 60000 65536"/>
                <a:gd name="T12" fmla="*/ 0 60000 65536"/>
                <a:gd name="T13" fmla="*/ 0 60000 65536"/>
                <a:gd name="T14" fmla="*/ 0 60000 65536"/>
                <a:gd name="T15" fmla="*/ 0 w 64"/>
                <a:gd name="T16" fmla="*/ 0 h 75"/>
                <a:gd name="T17" fmla="*/ 64 w 64"/>
                <a:gd name="T18" fmla="*/ 75 h 75"/>
              </a:gdLst>
              <a:ahLst/>
              <a:cxnLst>
                <a:cxn ang="T10">
                  <a:pos x="T0" y="T1"/>
                </a:cxn>
                <a:cxn ang="T11">
                  <a:pos x="T2" y="T3"/>
                </a:cxn>
                <a:cxn ang="T12">
                  <a:pos x="T4" y="T5"/>
                </a:cxn>
                <a:cxn ang="T13">
                  <a:pos x="T6" y="T7"/>
                </a:cxn>
                <a:cxn ang="T14">
                  <a:pos x="T8" y="T9"/>
                </a:cxn>
              </a:cxnLst>
              <a:rect l="T15" t="T16" r="T17" b="T18"/>
              <a:pathLst>
                <a:path w="64" h="75">
                  <a:moveTo>
                    <a:pt x="0" y="5"/>
                  </a:moveTo>
                  <a:cubicBezTo>
                    <a:pt x="52" y="75"/>
                    <a:pt x="52" y="75"/>
                    <a:pt x="52" y="75"/>
                  </a:cubicBezTo>
                  <a:cubicBezTo>
                    <a:pt x="57" y="72"/>
                    <a:pt x="58" y="69"/>
                    <a:pt x="64" y="65"/>
                  </a:cubicBezTo>
                  <a:cubicBezTo>
                    <a:pt x="7" y="0"/>
                    <a:pt x="7" y="0"/>
                    <a:pt x="7" y="0"/>
                  </a:cubicBezTo>
                  <a:cubicBezTo>
                    <a:pt x="2" y="3"/>
                    <a:pt x="4" y="2"/>
                    <a:pt x="0" y="5"/>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96" name="Freeform 243"/>
            <p:cNvSpPr>
              <a:spLocks noChangeArrowheads="1"/>
            </p:cNvSpPr>
            <p:nvPr/>
          </p:nvSpPr>
          <p:spPr bwMode="auto">
            <a:xfrm>
              <a:off x="1208087" y="1244601"/>
              <a:ext cx="184150" cy="195263"/>
            </a:xfrm>
            <a:custGeom>
              <a:avLst/>
              <a:gdLst>
                <a:gd name="T0" fmla="*/ 0 w 66"/>
                <a:gd name="T1" fmla="*/ 11158 h 70"/>
                <a:gd name="T2" fmla="*/ 159039 w 66"/>
                <a:gd name="T3" fmla="*/ 195263 h 70"/>
                <a:gd name="T4" fmla="*/ 184150 w 66"/>
                <a:gd name="T5" fmla="*/ 170158 h 70"/>
                <a:gd name="T6" fmla="*/ 11161 w 66"/>
                <a:gd name="T7" fmla="*/ 0 h 70"/>
                <a:gd name="T8" fmla="*/ 0 w 66"/>
                <a:gd name="T9" fmla="*/ 11158 h 70"/>
                <a:gd name="T10" fmla="*/ 0 60000 65536"/>
                <a:gd name="T11" fmla="*/ 0 60000 65536"/>
                <a:gd name="T12" fmla="*/ 0 60000 65536"/>
                <a:gd name="T13" fmla="*/ 0 60000 65536"/>
                <a:gd name="T14" fmla="*/ 0 60000 65536"/>
                <a:gd name="T15" fmla="*/ 0 w 66"/>
                <a:gd name="T16" fmla="*/ 0 h 70"/>
                <a:gd name="T17" fmla="*/ 66 w 66"/>
                <a:gd name="T18" fmla="*/ 70 h 70"/>
              </a:gdLst>
              <a:ahLst/>
              <a:cxnLst>
                <a:cxn ang="T10">
                  <a:pos x="T0" y="T1"/>
                </a:cxn>
                <a:cxn ang="T11">
                  <a:pos x="T2" y="T3"/>
                </a:cxn>
                <a:cxn ang="T12">
                  <a:pos x="T4" y="T5"/>
                </a:cxn>
                <a:cxn ang="T13">
                  <a:pos x="T6" y="T7"/>
                </a:cxn>
                <a:cxn ang="T14">
                  <a:pos x="T8" y="T9"/>
                </a:cxn>
              </a:cxnLst>
              <a:rect l="T15" t="T16" r="T17" b="T18"/>
              <a:pathLst>
                <a:path w="66" h="70">
                  <a:moveTo>
                    <a:pt x="0" y="4"/>
                  </a:moveTo>
                  <a:cubicBezTo>
                    <a:pt x="57" y="70"/>
                    <a:pt x="57" y="70"/>
                    <a:pt x="57" y="70"/>
                  </a:cubicBezTo>
                  <a:cubicBezTo>
                    <a:pt x="61" y="65"/>
                    <a:pt x="61" y="65"/>
                    <a:pt x="66" y="61"/>
                  </a:cubicBezTo>
                  <a:cubicBezTo>
                    <a:pt x="4" y="0"/>
                    <a:pt x="4" y="0"/>
                    <a:pt x="4" y="0"/>
                  </a:cubicBezTo>
                  <a:cubicBezTo>
                    <a:pt x="0" y="3"/>
                    <a:pt x="2" y="1"/>
                    <a:pt x="0" y="4"/>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97" name="Freeform 244"/>
            <p:cNvSpPr>
              <a:spLocks noChangeArrowheads="1"/>
            </p:cNvSpPr>
            <p:nvPr/>
          </p:nvSpPr>
          <p:spPr bwMode="auto">
            <a:xfrm>
              <a:off x="1127125" y="1300163"/>
              <a:ext cx="161925" cy="231775"/>
            </a:xfrm>
            <a:custGeom>
              <a:avLst/>
              <a:gdLst>
                <a:gd name="T0" fmla="*/ 0 w 58"/>
                <a:gd name="T1" fmla="*/ 13962 h 83"/>
                <a:gd name="T2" fmla="*/ 106089 w 58"/>
                <a:gd name="T3" fmla="*/ 231775 h 83"/>
                <a:gd name="T4" fmla="*/ 161925 w 58"/>
                <a:gd name="T5" fmla="*/ 198265 h 83"/>
                <a:gd name="T6" fmla="*/ 19543 w 58"/>
                <a:gd name="T7" fmla="*/ 0 h 83"/>
                <a:gd name="T8" fmla="*/ 0 w 58"/>
                <a:gd name="T9" fmla="*/ 13962 h 83"/>
                <a:gd name="T10" fmla="*/ 0 60000 65536"/>
                <a:gd name="T11" fmla="*/ 0 60000 65536"/>
                <a:gd name="T12" fmla="*/ 0 60000 65536"/>
                <a:gd name="T13" fmla="*/ 0 60000 65536"/>
                <a:gd name="T14" fmla="*/ 0 60000 65536"/>
                <a:gd name="T15" fmla="*/ 0 w 58"/>
                <a:gd name="T16" fmla="*/ 0 h 83"/>
                <a:gd name="T17" fmla="*/ 58 w 58"/>
                <a:gd name="T18" fmla="*/ 83 h 83"/>
              </a:gdLst>
              <a:ahLst/>
              <a:cxnLst>
                <a:cxn ang="T10">
                  <a:pos x="T0" y="T1"/>
                </a:cxn>
                <a:cxn ang="T11">
                  <a:pos x="T2" y="T3"/>
                </a:cxn>
                <a:cxn ang="T12">
                  <a:pos x="T4" y="T5"/>
                </a:cxn>
                <a:cxn ang="T13">
                  <a:pos x="T6" y="T7"/>
                </a:cxn>
                <a:cxn ang="T14">
                  <a:pos x="T8" y="T9"/>
                </a:cxn>
              </a:cxnLst>
              <a:rect l="T15" t="T16" r="T17" b="T18"/>
              <a:pathLst>
                <a:path w="58" h="83">
                  <a:moveTo>
                    <a:pt x="0" y="5"/>
                  </a:moveTo>
                  <a:cubicBezTo>
                    <a:pt x="38" y="83"/>
                    <a:pt x="38" y="83"/>
                    <a:pt x="38" y="83"/>
                  </a:cubicBezTo>
                  <a:cubicBezTo>
                    <a:pt x="48" y="77"/>
                    <a:pt x="48" y="77"/>
                    <a:pt x="58" y="71"/>
                  </a:cubicBezTo>
                  <a:cubicBezTo>
                    <a:pt x="7" y="0"/>
                    <a:pt x="7" y="0"/>
                    <a:pt x="7" y="0"/>
                  </a:cubicBezTo>
                  <a:cubicBezTo>
                    <a:pt x="2" y="4"/>
                    <a:pt x="7" y="1"/>
                    <a:pt x="0" y="5"/>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98" name="Freeform 245"/>
            <p:cNvSpPr>
              <a:spLocks noChangeArrowheads="1"/>
            </p:cNvSpPr>
            <p:nvPr/>
          </p:nvSpPr>
          <p:spPr bwMode="auto">
            <a:xfrm>
              <a:off x="1077912" y="1325563"/>
              <a:ext cx="130175" cy="250825"/>
            </a:xfrm>
            <a:custGeom>
              <a:avLst/>
              <a:gdLst>
                <a:gd name="T0" fmla="*/ 0 w 47"/>
                <a:gd name="T1" fmla="*/ 16722 h 90"/>
                <a:gd name="T2" fmla="*/ 69242 w 47"/>
                <a:gd name="T3" fmla="*/ 250825 h 90"/>
                <a:gd name="T4" fmla="*/ 130175 w 47"/>
                <a:gd name="T5" fmla="*/ 220169 h 90"/>
                <a:gd name="T6" fmla="*/ 30466 w 47"/>
                <a:gd name="T7" fmla="*/ 0 h 90"/>
                <a:gd name="T8" fmla="*/ 0 w 47"/>
                <a:gd name="T9" fmla="*/ 16722 h 90"/>
                <a:gd name="T10" fmla="*/ 0 60000 65536"/>
                <a:gd name="T11" fmla="*/ 0 60000 65536"/>
                <a:gd name="T12" fmla="*/ 0 60000 65536"/>
                <a:gd name="T13" fmla="*/ 0 60000 65536"/>
                <a:gd name="T14" fmla="*/ 0 60000 65536"/>
                <a:gd name="T15" fmla="*/ 0 w 47"/>
                <a:gd name="T16" fmla="*/ 0 h 90"/>
                <a:gd name="T17" fmla="*/ 47 w 47"/>
                <a:gd name="T18" fmla="*/ 90 h 90"/>
              </a:gdLst>
              <a:ahLst/>
              <a:cxnLst>
                <a:cxn ang="T10">
                  <a:pos x="T0" y="T1"/>
                </a:cxn>
                <a:cxn ang="T11">
                  <a:pos x="T2" y="T3"/>
                </a:cxn>
                <a:cxn ang="T12">
                  <a:pos x="T4" y="T5"/>
                </a:cxn>
                <a:cxn ang="T13">
                  <a:pos x="T6" y="T7"/>
                </a:cxn>
                <a:cxn ang="T14">
                  <a:pos x="T8" y="T9"/>
                </a:cxn>
              </a:cxnLst>
              <a:rect l="T15" t="T16" r="T17" b="T18"/>
              <a:pathLst>
                <a:path w="47" h="90">
                  <a:moveTo>
                    <a:pt x="0" y="6"/>
                  </a:moveTo>
                  <a:cubicBezTo>
                    <a:pt x="25" y="90"/>
                    <a:pt x="25" y="90"/>
                    <a:pt x="25" y="90"/>
                  </a:cubicBezTo>
                  <a:cubicBezTo>
                    <a:pt x="34" y="86"/>
                    <a:pt x="39" y="83"/>
                    <a:pt x="47" y="79"/>
                  </a:cubicBezTo>
                  <a:cubicBezTo>
                    <a:pt x="11" y="0"/>
                    <a:pt x="11" y="0"/>
                    <a:pt x="11" y="0"/>
                  </a:cubicBezTo>
                  <a:cubicBezTo>
                    <a:pt x="6" y="3"/>
                    <a:pt x="6" y="3"/>
                    <a:pt x="0" y="6"/>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99" name="Freeform 246"/>
            <p:cNvSpPr>
              <a:spLocks noChangeArrowheads="1"/>
            </p:cNvSpPr>
            <p:nvPr/>
          </p:nvSpPr>
          <p:spPr bwMode="auto">
            <a:xfrm>
              <a:off x="1030287" y="1350963"/>
              <a:ext cx="96838" cy="258763"/>
            </a:xfrm>
            <a:custGeom>
              <a:avLst/>
              <a:gdLst>
                <a:gd name="T0" fmla="*/ 0 w 35"/>
                <a:gd name="T1" fmla="*/ 8347 h 93"/>
                <a:gd name="T2" fmla="*/ 11067 w 35"/>
                <a:gd name="T3" fmla="*/ 258763 h 93"/>
                <a:gd name="T4" fmla="*/ 96838 w 35"/>
                <a:gd name="T5" fmla="*/ 233721 h 93"/>
                <a:gd name="T6" fmla="*/ 27668 w 35"/>
                <a:gd name="T7" fmla="*/ 0 h 93"/>
                <a:gd name="T8" fmla="*/ 0 w 35"/>
                <a:gd name="T9" fmla="*/ 8347 h 93"/>
                <a:gd name="T10" fmla="*/ 0 60000 65536"/>
                <a:gd name="T11" fmla="*/ 0 60000 65536"/>
                <a:gd name="T12" fmla="*/ 0 60000 65536"/>
                <a:gd name="T13" fmla="*/ 0 60000 65536"/>
                <a:gd name="T14" fmla="*/ 0 60000 65536"/>
                <a:gd name="T15" fmla="*/ 0 w 35"/>
                <a:gd name="T16" fmla="*/ 0 h 93"/>
                <a:gd name="T17" fmla="*/ 35 w 35"/>
                <a:gd name="T18" fmla="*/ 93 h 93"/>
              </a:gdLst>
              <a:ahLst/>
              <a:cxnLst>
                <a:cxn ang="T10">
                  <a:pos x="T0" y="T1"/>
                </a:cxn>
                <a:cxn ang="T11">
                  <a:pos x="T2" y="T3"/>
                </a:cxn>
                <a:cxn ang="T12">
                  <a:pos x="T4" y="T5"/>
                </a:cxn>
                <a:cxn ang="T13">
                  <a:pos x="T6" y="T7"/>
                </a:cxn>
                <a:cxn ang="T14">
                  <a:pos x="T8" y="T9"/>
                </a:cxn>
              </a:cxnLst>
              <a:rect l="T15" t="T16" r="T17" b="T18"/>
              <a:pathLst>
                <a:path w="35" h="93">
                  <a:moveTo>
                    <a:pt x="0" y="3"/>
                  </a:moveTo>
                  <a:cubicBezTo>
                    <a:pt x="4" y="93"/>
                    <a:pt x="4" y="93"/>
                    <a:pt x="4" y="93"/>
                  </a:cubicBezTo>
                  <a:cubicBezTo>
                    <a:pt x="18" y="90"/>
                    <a:pt x="22" y="89"/>
                    <a:pt x="35" y="84"/>
                  </a:cubicBezTo>
                  <a:cubicBezTo>
                    <a:pt x="10" y="0"/>
                    <a:pt x="10" y="0"/>
                    <a:pt x="10" y="0"/>
                  </a:cubicBezTo>
                  <a:cubicBezTo>
                    <a:pt x="3" y="3"/>
                    <a:pt x="7" y="1"/>
                    <a:pt x="0" y="3"/>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00" name="Freeform 247"/>
            <p:cNvSpPr>
              <a:spLocks noChangeArrowheads="1"/>
            </p:cNvSpPr>
            <p:nvPr/>
          </p:nvSpPr>
          <p:spPr bwMode="auto">
            <a:xfrm>
              <a:off x="1244600" y="290513"/>
              <a:ext cx="206375" cy="184150"/>
            </a:xfrm>
            <a:custGeom>
              <a:avLst/>
              <a:gdLst>
                <a:gd name="T0" fmla="*/ 16733 w 74"/>
                <a:gd name="T1" fmla="*/ 184150 h 66"/>
                <a:gd name="T2" fmla="*/ 206375 w 74"/>
                <a:gd name="T3" fmla="*/ 36272 h 66"/>
                <a:gd name="T4" fmla="*/ 181275 w 74"/>
                <a:gd name="T5" fmla="*/ 0 h 66"/>
                <a:gd name="T6" fmla="*/ 0 w 74"/>
                <a:gd name="T7" fmla="*/ 170199 h 66"/>
                <a:gd name="T8" fmla="*/ 16733 w 74"/>
                <a:gd name="T9" fmla="*/ 184150 h 66"/>
                <a:gd name="T10" fmla="*/ 0 60000 65536"/>
                <a:gd name="T11" fmla="*/ 0 60000 65536"/>
                <a:gd name="T12" fmla="*/ 0 60000 65536"/>
                <a:gd name="T13" fmla="*/ 0 60000 65536"/>
                <a:gd name="T14" fmla="*/ 0 60000 65536"/>
                <a:gd name="T15" fmla="*/ 0 w 74"/>
                <a:gd name="T16" fmla="*/ 0 h 66"/>
                <a:gd name="T17" fmla="*/ 74 w 74"/>
                <a:gd name="T18" fmla="*/ 66 h 66"/>
              </a:gdLst>
              <a:ahLst/>
              <a:cxnLst>
                <a:cxn ang="T10">
                  <a:pos x="T0" y="T1"/>
                </a:cxn>
                <a:cxn ang="T11">
                  <a:pos x="T2" y="T3"/>
                </a:cxn>
                <a:cxn ang="T12">
                  <a:pos x="T4" y="T5"/>
                </a:cxn>
                <a:cxn ang="T13">
                  <a:pos x="T6" y="T7"/>
                </a:cxn>
                <a:cxn ang="T14">
                  <a:pos x="T8" y="T9"/>
                </a:cxn>
              </a:cxnLst>
              <a:rect l="T15" t="T16" r="T17" b="T18"/>
              <a:pathLst>
                <a:path w="74" h="66">
                  <a:moveTo>
                    <a:pt x="6" y="66"/>
                  </a:moveTo>
                  <a:cubicBezTo>
                    <a:pt x="74" y="13"/>
                    <a:pt x="74" y="13"/>
                    <a:pt x="74" y="13"/>
                  </a:cubicBezTo>
                  <a:cubicBezTo>
                    <a:pt x="70" y="8"/>
                    <a:pt x="69" y="6"/>
                    <a:pt x="65" y="0"/>
                  </a:cubicBezTo>
                  <a:cubicBezTo>
                    <a:pt x="0" y="61"/>
                    <a:pt x="0" y="61"/>
                    <a:pt x="0" y="61"/>
                  </a:cubicBezTo>
                  <a:cubicBezTo>
                    <a:pt x="3" y="64"/>
                    <a:pt x="3" y="63"/>
                    <a:pt x="6" y="66"/>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01" name="Freeform 248"/>
            <p:cNvSpPr>
              <a:spLocks noChangeArrowheads="1"/>
            </p:cNvSpPr>
            <p:nvPr/>
          </p:nvSpPr>
          <p:spPr bwMode="auto">
            <a:xfrm>
              <a:off x="1274762" y="341313"/>
              <a:ext cx="212725" cy="163513"/>
            </a:xfrm>
            <a:custGeom>
              <a:avLst/>
              <a:gdLst>
                <a:gd name="T0" fmla="*/ 8397 w 76"/>
                <a:gd name="T1" fmla="*/ 163513 h 59"/>
                <a:gd name="T2" fmla="*/ 212725 w 76"/>
                <a:gd name="T3" fmla="*/ 27714 h 59"/>
                <a:gd name="T4" fmla="*/ 190333 w 76"/>
                <a:gd name="T5" fmla="*/ 0 h 59"/>
                <a:gd name="T6" fmla="*/ 0 w 76"/>
                <a:gd name="T7" fmla="*/ 152427 h 59"/>
                <a:gd name="T8" fmla="*/ 8397 w 76"/>
                <a:gd name="T9" fmla="*/ 163513 h 59"/>
                <a:gd name="T10" fmla="*/ 0 60000 65536"/>
                <a:gd name="T11" fmla="*/ 0 60000 65536"/>
                <a:gd name="T12" fmla="*/ 0 60000 65536"/>
                <a:gd name="T13" fmla="*/ 0 60000 65536"/>
                <a:gd name="T14" fmla="*/ 0 60000 65536"/>
                <a:gd name="T15" fmla="*/ 0 w 76"/>
                <a:gd name="T16" fmla="*/ 0 h 59"/>
                <a:gd name="T17" fmla="*/ 76 w 76"/>
                <a:gd name="T18" fmla="*/ 59 h 59"/>
              </a:gdLst>
              <a:ahLst/>
              <a:cxnLst>
                <a:cxn ang="T10">
                  <a:pos x="T0" y="T1"/>
                </a:cxn>
                <a:cxn ang="T11">
                  <a:pos x="T2" y="T3"/>
                </a:cxn>
                <a:cxn ang="T12">
                  <a:pos x="T4" y="T5"/>
                </a:cxn>
                <a:cxn ang="T13">
                  <a:pos x="T6" y="T7"/>
                </a:cxn>
                <a:cxn ang="T14">
                  <a:pos x="T8" y="T9"/>
                </a:cxn>
              </a:cxnLst>
              <a:rect l="T15" t="T16" r="T17" b="T18"/>
              <a:pathLst>
                <a:path w="76" h="59">
                  <a:moveTo>
                    <a:pt x="3" y="59"/>
                  </a:moveTo>
                  <a:cubicBezTo>
                    <a:pt x="76" y="10"/>
                    <a:pt x="76" y="10"/>
                    <a:pt x="76" y="10"/>
                  </a:cubicBezTo>
                  <a:cubicBezTo>
                    <a:pt x="72" y="5"/>
                    <a:pt x="72" y="6"/>
                    <a:pt x="68" y="0"/>
                  </a:cubicBezTo>
                  <a:cubicBezTo>
                    <a:pt x="0" y="55"/>
                    <a:pt x="0" y="55"/>
                    <a:pt x="0" y="55"/>
                  </a:cubicBezTo>
                  <a:cubicBezTo>
                    <a:pt x="3" y="58"/>
                    <a:pt x="1" y="56"/>
                    <a:pt x="3" y="59"/>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02" name="Freeform 249"/>
            <p:cNvSpPr>
              <a:spLocks noChangeArrowheads="1"/>
            </p:cNvSpPr>
            <p:nvPr/>
          </p:nvSpPr>
          <p:spPr bwMode="auto">
            <a:xfrm>
              <a:off x="1208087" y="227013"/>
              <a:ext cx="193675" cy="214313"/>
            </a:xfrm>
            <a:custGeom>
              <a:avLst/>
              <a:gdLst>
                <a:gd name="T0" fmla="*/ 19648 w 69"/>
                <a:gd name="T1" fmla="*/ 214313 h 77"/>
                <a:gd name="T2" fmla="*/ 193675 w 69"/>
                <a:gd name="T3" fmla="*/ 44533 h 77"/>
                <a:gd name="T4" fmla="*/ 145958 w 69"/>
                <a:gd name="T5" fmla="*/ 0 h 77"/>
                <a:gd name="T6" fmla="*/ 0 w 69"/>
                <a:gd name="T7" fmla="*/ 194830 h 77"/>
                <a:gd name="T8" fmla="*/ 19648 w 69"/>
                <a:gd name="T9" fmla="*/ 214313 h 77"/>
                <a:gd name="T10" fmla="*/ 0 60000 65536"/>
                <a:gd name="T11" fmla="*/ 0 60000 65536"/>
                <a:gd name="T12" fmla="*/ 0 60000 65536"/>
                <a:gd name="T13" fmla="*/ 0 60000 65536"/>
                <a:gd name="T14" fmla="*/ 0 60000 65536"/>
                <a:gd name="T15" fmla="*/ 0 w 69"/>
                <a:gd name="T16" fmla="*/ 0 h 77"/>
                <a:gd name="T17" fmla="*/ 69 w 69"/>
                <a:gd name="T18" fmla="*/ 77 h 77"/>
              </a:gdLst>
              <a:ahLst/>
              <a:cxnLst>
                <a:cxn ang="T10">
                  <a:pos x="T0" y="T1"/>
                </a:cxn>
                <a:cxn ang="T11">
                  <a:pos x="T2" y="T3"/>
                </a:cxn>
                <a:cxn ang="T12">
                  <a:pos x="T4" y="T5"/>
                </a:cxn>
                <a:cxn ang="T13">
                  <a:pos x="T6" y="T7"/>
                </a:cxn>
                <a:cxn ang="T14">
                  <a:pos x="T8" y="T9"/>
                </a:cxn>
              </a:cxnLst>
              <a:rect l="T15" t="T16" r="T17" b="T18"/>
              <a:pathLst>
                <a:path w="69" h="77">
                  <a:moveTo>
                    <a:pt x="7" y="77"/>
                  </a:moveTo>
                  <a:cubicBezTo>
                    <a:pt x="69" y="16"/>
                    <a:pt x="69" y="16"/>
                    <a:pt x="69" y="16"/>
                  </a:cubicBezTo>
                  <a:cubicBezTo>
                    <a:pt x="61" y="7"/>
                    <a:pt x="61" y="7"/>
                    <a:pt x="52" y="0"/>
                  </a:cubicBezTo>
                  <a:cubicBezTo>
                    <a:pt x="0" y="70"/>
                    <a:pt x="0" y="70"/>
                    <a:pt x="0" y="70"/>
                  </a:cubicBezTo>
                  <a:cubicBezTo>
                    <a:pt x="5" y="75"/>
                    <a:pt x="2" y="72"/>
                    <a:pt x="7" y="77"/>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03" name="Freeform 250"/>
            <p:cNvSpPr>
              <a:spLocks noChangeArrowheads="1"/>
            </p:cNvSpPr>
            <p:nvPr/>
          </p:nvSpPr>
          <p:spPr bwMode="auto">
            <a:xfrm>
              <a:off x="1163637" y="168276"/>
              <a:ext cx="169863" cy="239713"/>
            </a:xfrm>
            <a:custGeom>
              <a:avLst/>
              <a:gdLst>
                <a:gd name="T0" fmla="*/ 27846 w 61"/>
                <a:gd name="T1" fmla="*/ 239713 h 86"/>
                <a:gd name="T2" fmla="*/ 169863 w 61"/>
                <a:gd name="T3" fmla="*/ 39023 h 86"/>
                <a:gd name="T4" fmla="*/ 111386 w 61"/>
                <a:gd name="T5" fmla="*/ 0 h 86"/>
                <a:gd name="T6" fmla="*/ 0 w 61"/>
                <a:gd name="T7" fmla="*/ 217414 h 86"/>
                <a:gd name="T8" fmla="*/ 27846 w 61"/>
                <a:gd name="T9" fmla="*/ 239713 h 86"/>
                <a:gd name="T10" fmla="*/ 0 60000 65536"/>
                <a:gd name="T11" fmla="*/ 0 60000 65536"/>
                <a:gd name="T12" fmla="*/ 0 60000 65536"/>
                <a:gd name="T13" fmla="*/ 0 60000 65536"/>
                <a:gd name="T14" fmla="*/ 0 60000 65536"/>
                <a:gd name="T15" fmla="*/ 0 w 61"/>
                <a:gd name="T16" fmla="*/ 0 h 86"/>
                <a:gd name="T17" fmla="*/ 61 w 61"/>
                <a:gd name="T18" fmla="*/ 86 h 86"/>
              </a:gdLst>
              <a:ahLst/>
              <a:cxnLst>
                <a:cxn ang="T10">
                  <a:pos x="T0" y="T1"/>
                </a:cxn>
                <a:cxn ang="T11">
                  <a:pos x="T2" y="T3"/>
                </a:cxn>
                <a:cxn ang="T12">
                  <a:pos x="T4" y="T5"/>
                </a:cxn>
                <a:cxn ang="T13">
                  <a:pos x="T6" y="T7"/>
                </a:cxn>
                <a:cxn ang="T14">
                  <a:pos x="T8" y="T9"/>
                </a:cxn>
              </a:cxnLst>
              <a:rect l="T15" t="T16" r="T17" b="T18"/>
              <a:pathLst>
                <a:path w="61" h="86">
                  <a:moveTo>
                    <a:pt x="10" y="86"/>
                  </a:moveTo>
                  <a:cubicBezTo>
                    <a:pt x="61" y="14"/>
                    <a:pt x="61" y="14"/>
                    <a:pt x="61" y="14"/>
                  </a:cubicBezTo>
                  <a:cubicBezTo>
                    <a:pt x="53" y="8"/>
                    <a:pt x="48" y="5"/>
                    <a:pt x="40" y="0"/>
                  </a:cubicBezTo>
                  <a:cubicBezTo>
                    <a:pt x="0" y="78"/>
                    <a:pt x="0" y="78"/>
                    <a:pt x="0" y="78"/>
                  </a:cubicBezTo>
                  <a:cubicBezTo>
                    <a:pt x="5" y="82"/>
                    <a:pt x="5" y="82"/>
                    <a:pt x="10" y="86"/>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04" name="Freeform 251"/>
            <p:cNvSpPr>
              <a:spLocks noChangeArrowheads="1"/>
            </p:cNvSpPr>
            <p:nvPr/>
          </p:nvSpPr>
          <p:spPr bwMode="auto">
            <a:xfrm>
              <a:off x="1122362" y="114301"/>
              <a:ext cx="133350" cy="260350"/>
            </a:xfrm>
            <a:custGeom>
              <a:avLst/>
              <a:gdLst>
                <a:gd name="T0" fmla="*/ 25003 w 48"/>
                <a:gd name="T1" fmla="*/ 260350 h 93"/>
                <a:gd name="T2" fmla="*/ 133350 w 48"/>
                <a:gd name="T3" fmla="*/ 39192 h 93"/>
                <a:gd name="T4" fmla="*/ 55563 w 48"/>
                <a:gd name="T5" fmla="*/ 0 h 93"/>
                <a:gd name="T6" fmla="*/ 0 w 48"/>
                <a:gd name="T7" fmla="*/ 243553 h 93"/>
                <a:gd name="T8" fmla="*/ 25003 w 48"/>
                <a:gd name="T9" fmla="*/ 260350 h 93"/>
                <a:gd name="T10" fmla="*/ 0 60000 65536"/>
                <a:gd name="T11" fmla="*/ 0 60000 65536"/>
                <a:gd name="T12" fmla="*/ 0 60000 65536"/>
                <a:gd name="T13" fmla="*/ 0 60000 65536"/>
                <a:gd name="T14" fmla="*/ 0 60000 65536"/>
                <a:gd name="T15" fmla="*/ 0 w 48"/>
                <a:gd name="T16" fmla="*/ 0 h 93"/>
                <a:gd name="T17" fmla="*/ 48 w 48"/>
                <a:gd name="T18" fmla="*/ 93 h 93"/>
              </a:gdLst>
              <a:ahLst/>
              <a:cxnLst>
                <a:cxn ang="T10">
                  <a:pos x="T0" y="T1"/>
                </a:cxn>
                <a:cxn ang="T11">
                  <a:pos x="T2" y="T3"/>
                </a:cxn>
                <a:cxn ang="T12">
                  <a:pos x="T4" y="T5"/>
                </a:cxn>
                <a:cxn ang="T13">
                  <a:pos x="T6" y="T7"/>
                </a:cxn>
                <a:cxn ang="T14">
                  <a:pos x="T8" y="T9"/>
                </a:cxn>
              </a:cxnLst>
              <a:rect l="T15" t="T16" r="T17" b="T18"/>
              <a:pathLst>
                <a:path w="48" h="93">
                  <a:moveTo>
                    <a:pt x="9" y="93"/>
                  </a:moveTo>
                  <a:cubicBezTo>
                    <a:pt x="48" y="14"/>
                    <a:pt x="48" y="14"/>
                    <a:pt x="48" y="14"/>
                  </a:cubicBezTo>
                  <a:cubicBezTo>
                    <a:pt x="37" y="7"/>
                    <a:pt x="33" y="6"/>
                    <a:pt x="20" y="0"/>
                  </a:cubicBezTo>
                  <a:cubicBezTo>
                    <a:pt x="0" y="87"/>
                    <a:pt x="0" y="87"/>
                    <a:pt x="0" y="87"/>
                  </a:cubicBezTo>
                  <a:cubicBezTo>
                    <a:pt x="6" y="90"/>
                    <a:pt x="3" y="89"/>
                    <a:pt x="9" y="93"/>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05" name="Freeform 252"/>
            <p:cNvSpPr>
              <a:spLocks noChangeArrowheads="1"/>
            </p:cNvSpPr>
            <p:nvPr/>
          </p:nvSpPr>
          <p:spPr bwMode="auto">
            <a:xfrm>
              <a:off x="0" y="0"/>
              <a:ext cx="1158875" cy="1644650"/>
            </a:xfrm>
            <a:custGeom>
              <a:avLst/>
              <a:gdLst>
                <a:gd name="T0" fmla="*/ 39095 w 415"/>
                <a:gd name="T1" fmla="*/ 765083 h 589"/>
                <a:gd name="T2" fmla="*/ 39095 w 415"/>
                <a:gd name="T3" fmla="*/ 765083 h 589"/>
                <a:gd name="T4" fmla="*/ 39095 w 415"/>
                <a:gd name="T5" fmla="*/ 765083 h 589"/>
                <a:gd name="T6" fmla="*/ 39095 w 415"/>
                <a:gd name="T7" fmla="*/ 765083 h 589"/>
                <a:gd name="T8" fmla="*/ 39095 w 415"/>
                <a:gd name="T9" fmla="*/ 765083 h 589"/>
                <a:gd name="T10" fmla="*/ 765137 w 415"/>
                <a:gd name="T11" fmla="*/ 1636273 h 589"/>
                <a:gd name="T12" fmla="*/ 1022044 w 415"/>
                <a:gd name="T13" fmla="*/ 1616727 h 589"/>
                <a:gd name="T14" fmla="*/ 1010874 w 415"/>
                <a:gd name="T15" fmla="*/ 1368215 h 589"/>
                <a:gd name="T16" fmla="*/ 787477 w 415"/>
                <a:gd name="T17" fmla="*/ 1393345 h 589"/>
                <a:gd name="T18" fmla="*/ 282039 w 415"/>
                <a:gd name="T19" fmla="*/ 787422 h 589"/>
                <a:gd name="T20" fmla="*/ 888005 w 415"/>
                <a:gd name="T21" fmla="*/ 282020 h 589"/>
                <a:gd name="T22" fmla="*/ 1103026 w 415"/>
                <a:gd name="T23" fmla="*/ 349034 h 589"/>
                <a:gd name="T24" fmla="*/ 1158875 w 415"/>
                <a:gd name="T25" fmla="*/ 106106 h 589"/>
                <a:gd name="T26" fmla="*/ 910345 w 415"/>
                <a:gd name="T27" fmla="*/ 41884 h 589"/>
                <a:gd name="T28" fmla="*/ 39095 w 415"/>
                <a:gd name="T29" fmla="*/ 765083 h 5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5"/>
                <a:gd name="T46" fmla="*/ 0 h 589"/>
                <a:gd name="T47" fmla="*/ 415 w 415"/>
                <a:gd name="T48" fmla="*/ 589 h 5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5" h="589">
                  <a:moveTo>
                    <a:pt x="14" y="274"/>
                  </a:moveTo>
                  <a:cubicBezTo>
                    <a:pt x="14" y="274"/>
                    <a:pt x="14" y="274"/>
                    <a:pt x="14" y="274"/>
                  </a:cubicBezTo>
                  <a:cubicBezTo>
                    <a:pt x="14" y="274"/>
                    <a:pt x="14" y="274"/>
                    <a:pt x="14" y="274"/>
                  </a:cubicBezTo>
                  <a:cubicBezTo>
                    <a:pt x="14" y="274"/>
                    <a:pt x="14" y="274"/>
                    <a:pt x="14" y="274"/>
                  </a:cubicBezTo>
                  <a:cubicBezTo>
                    <a:pt x="14" y="274"/>
                    <a:pt x="14" y="274"/>
                    <a:pt x="14" y="274"/>
                  </a:cubicBezTo>
                  <a:cubicBezTo>
                    <a:pt x="0" y="432"/>
                    <a:pt x="116" y="571"/>
                    <a:pt x="274" y="586"/>
                  </a:cubicBezTo>
                  <a:cubicBezTo>
                    <a:pt x="306" y="589"/>
                    <a:pt x="337" y="586"/>
                    <a:pt x="366" y="579"/>
                  </a:cubicBezTo>
                  <a:cubicBezTo>
                    <a:pt x="362" y="490"/>
                    <a:pt x="362" y="490"/>
                    <a:pt x="362" y="490"/>
                  </a:cubicBezTo>
                  <a:cubicBezTo>
                    <a:pt x="337" y="498"/>
                    <a:pt x="311" y="502"/>
                    <a:pt x="282" y="499"/>
                  </a:cubicBezTo>
                  <a:cubicBezTo>
                    <a:pt x="172" y="489"/>
                    <a:pt x="91" y="392"/>
                    <a:pt x="101" y="282"/>
                  </a:cubicBezTo>
                  <a:cubicBezTo>
                    <a:pt x="111" y="173"/>
                    <a:pt x="208" y="91"/>
                    <a:pt x="318" y="101"/>
                  </a:cubicBezTo>
                  <a:cubicBezTo>
                    <a:pt x="346" y="104"/>
                    <a:pt x="372" y="112"/>
                    <a:pt x="395" y="125"/>
                  </a:cubicBezTo>
                  <a:cubicBezTo>
                    <a:pt x="415" y="38"/>
                    <a:pt x="415" y="38"/>
                    <a:pt x="415" y="38"/>
                  </a:cubicBezTo>
                  <a:cubicBezTo>
                    <a:pt x="388" y="25"/>
                    <a:pt x="358" y="18"/>
                    <a:pt x="326" y="15"/>
                  </a:cubicBezTo>
                  <a:cubicBezTo>
                    <a:pt x="169" y="0"/>
                    <a:pt x="29" y="116"/>
                    <a:pt x="14" y="274"/>
                  </a:cubicBezTo>
                  <a:close/>
                </a:path>
              </a:pathLst>
            </a:custGeom>
            <a:grp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grpSp>
      <p:sp>
        <p:nvSpPr>
          <p:cNvPr id="106" name="TextBox 682"/>
          <p:cNvSpPr>
            <a:spLocks noChangeArrowheads="1"/>
          </p:cNvSpPr>
          <p:nvPr/>
        </p:nvSpPr>
        <p:spPr bwMode="auto">
          <a:xfrm>
            <a:off x="2638706" y="3017869"/>
            <a:ext cx="5533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2800" dirty="0">
                <a:solidFill>
                  <a:schemeClr val="bg1"/>
                </a:solidFill>
                <a:latin typeface="等线 Light" panose="02010600030101010101" pitchFamily="2" charset="-122"/>
                <a:ea typeface="等线 Light" panose="02010600030101010101" pitchFamily="2" charset="-122"/>
              </a:rPr>
              <a:t>01</a:t>
            </a:r>
            <a:endParaRPr lang="zh-CN" altLang="en-US" sz="2800" dirty="0">
              <a:solidFill>
                <a:schemeClr val="bg1"/>
              </a:solidFill>
              <a:latin typeface="等线 Light" panose="02010600030101010101" pitchFamily="2" charset="-122"/>
              <a:ea typeface="等线 Light" panose="02010600030101010101" pitchFamily="2" charset="-122"/>
            </a:endParaRPr>
          </a:p>
        </p:txBody>
      </p:sp>
      <p:sp>
        <p:nvSpPr>
          <p:cNvPr id="107" name="TextBox 682"/>
          <p:cNvSpPr>
            <a:spLocks noChangeArrowheads="1"/>
          </p:cNvSpPr>
          <p:nvPr/>
        </p:nvSpPr>
        <p:spPr bwMode="auto">
          <a:xfrm>
            <a:off x="4663563" y="3017869"/>
            <a:ext cx="5533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2800" dirty="0">
                <a:solidFill>
                  <a:schemeClr val="bg1"/>
                </a:solidFill>
                <a:latin typeface="等线 Light" panose="02010600030101010101" pitchFamily="2" charset="-122"/>
                <a:ea typeface="等线 Light" panose="02010600030101010101" pitchFamily="2" charset="-122"/>
              </a:rPr>
              <a:t>02</a:t>
            </a:r>
            <a:endParaRPr lang="zh-CN" altLang="en-US" sz="2800" dirty="0">
              <a:solidFill>
                <a:schemeClr val="bg1"/>
              </a:solidFill>
              <a:latin typeface="等线 Light" panose="02010600030101010101" pitchFamily="2" charset="-122"/>
              <a:ea typeface="等线 Light" panose="02010600030101010101" pitchFamily="2" charset="-122"/>
            </a:endParaRPr>
          </a:p>
        </p:txBody>
      </p:sp>
      <p:sp>
        <p:nvSpPr>
          <p:cNvPr id="108" name="TextBox 682"/>
          <p:cNvSpPr>
            <a:spLocks noChangeArrowheads="1"/>
          </p:cNvSpPr>
          <p:nvPr/>
        </p:nvSpPr>
        <p:spPr bwMode="auto">
          <a:xfrm>
            <a:off x="6781010" y="3017869"/>
            <a:ext cx="5533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2800" dirty="0">
                <a:solidFill>
                  <a:schemeClr val="bg1"/>
                </a:solidFill>
                <a:latin typeface="等线 Light" panose="02010600030101010101" pitchFamily="2" charset="-122"/>
                <a:ea typeface="等线 Light" panose="02010600030101010101" pitchFamily="2" charset="-122"/>
              </a:rPr>
              <a:t>03</a:t>
            </a:r>
            <a:endParaRPr lang="zh-CN" altLang="en-US" sz="2800" dirty="0">
              <a:solidFill>
                <a:schemeClr val="bg1"/>
              </a:solidFill>
              <a:latin typeface="等线 Light" panose="02010600030101010101" pitchFamily="2" charset="-122"/>
              <a:ea typeface="等线 Light" panose="02010600030101010101" pitchFamily="2" charset="-122"/>
            </a:endParaRPr>
          </a:p>
        </p:txBody>
      </p:sp>
      <p:sp>
        <p:nvSpPr>
          <p:cNvPr id="109" name="TextBox 682"/>
          <p:cNvSpPr>
            <a:spLocks noChangeArrowheads="1"/>
          </p:cNvSpPr>
          <p:nvPr/>
        </p:nvSpPr>
        <p:spPr bwMode="auto">
          <a:xfrm>
            <a:off x="8888966" y="3017869"/>
            <a:ext cx="5533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2800" dirty="0">
                <a:solidFill>
                  <a:schemeClr val="bg1"/>
                </a:solidFill>
                <a:latin typeface="等线 Light" panose="02010600030101010101" pitchFamily="2" charset="-122"/>
                <a:ea typeface="等线 Light" panose="02010600030101010101" pitchFamily="2" charset="-122"/>
              </a:rPr>
              <a:t>04</a:t>
            </a:r>
            <a:endParaRPr lang="zh-CN" altLang="en-US" sz="2800" dirty="0">
              <a:solidFill>
                <a:schemeClr val="bg1"/>
              </a:solidFill>
              <a:latin typeface="等线 Light" panose="02010600030101010101" pitchFamily="2" charset="-122"/>
              <a:ea typeface="等线 Light" panose="02010600030101010101" pitchFamily="2" charset="-122"/>
            </a:endParaRPr>
          </a:p>
        </p:txBody>
      </p:sp>
      <p:sp>
        <p:nvSpPr>
          <p:cNvPr id="110" name="矩形 1"/>
          <p:cNvSpPr>
            <a:spLocks noChangeArrowheads="1"/>
          </p:cNvSpPr>
          <p:nvPr/>
        </p:nvSpPr>
        <p:spPr bwMode="auto">
          <a:xfrm>
            <a:off x="2326425" y="4653135"/>
            <a:ext cx="7740378" cy="102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pPr>
            <a:r>
              <a:rPr lang="zh-CN" altLang="en-US" sz="1600" dirty="0">
                <a:solidFill>
                  <a:schemeClr val="bg1"/>
                </a:solidFill>
                <a:latin typeface="等线 Light" panose="02010600030101010101" pitchFamily="2" charset="-122"/>
                <a:ea typeface="等线 Light" panose="02010600030101010101" pitchFamily="2" charset="-122"/>
                <a:sym typeface="方正兰亭黑_GBK" panose="02000000000000000000" pitchFamily="2" charset="-122"/>
              </a:rPr>
              <a:t>在此录入上述图表的综合描述说明，在此录入上述图表的综合描述说明，在此录入上述图表的综合描述说明，在此录入上述图表的综合描述说明，在此录入上述图表的综合描述说明，在此录入上述图表的综合描述说明，</a:t>
            </a:r>
            <a:endParaRPr lang="zh-CN" altLang="en-US" sz="1600" dirty="0">
              <a:solidFill>
                <a:schemeClr val="bg1"/>
              </a:solidFill>
              <a:latin typeface="等线 Light" panose="02010600030101010101" pitchFamily="2" charset="-122"/>
              <a:ea typeface="等线 Light" panose="02010600030101010101" pitchFamily="2" charset="-122"/>
            </a:endParaRPr>
          </a:p>
        </p:txBody>
      </p:sp>
      <p:sp>
        <p:nvSpPr>
          <p:cNvPr id="111" name="TextBox 291"/>
          <p:cNvSpPr>
            <a:spLocks noChangeArrowheads="1"/>
          </p:cNvSpPr>
          <p:nvPr/>
        </p:nvSpPr>
        <p:spPr bwMode="auto">
          <a:xfrm>
            <a:off x="2354880" y="4166141"/>
            <a:ext cx="121058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sz="2000" dirty="0">
                <a:solidFill>
                  <a:schemeClr val="bg1"/>
                </a:solidFill>
                <a:latin typeface="等线 Light" panose="02010600030101010101" pitchFamily="2" charset="-122"/>
                <a:ea typeface="等线 Light" panose="02010600030101010101" pitchFamily="2" charset="-122"/>
                <a:sym typeface="Arial" panose="020B0604020202020204" pitchFamily="34" charset="0"/>
              </a:rPr>
              <a:t>添加标题</a:t>
            </a:r>
            <a:endParaRPr lang="zh-CN" altLang="en-US" sz="2400" dirty="0">
              <a:solidFill>
                <a:schemeClr val="bg1"/>
              </a:solidFill>
              <a:latin typeface="等线 Light" panose="02010600030101010101" pitchFamily="2" charset="-122"/>
              <a:ea typeface="等线 Light" panose="02010600030101010101" pitchFamily="2" charset="-122"/>
            </a:endParaRPr>
          </a:p>
        </p:txBody>
      </p:sp>
      <p:sp>
        <p:nvSpPr>
          <p:cNvPr id="112" name="TextBox 292"/>
          <p:cNvSpPr>
            <a:spLocks noChangeArrowheads="1"/>
          </p:cNvSpPr>
          <p:nvPr/>
        </p:nvSpPr>
        <p:spPr bwMode="auto">
          <a:xfrm>
            <a:off x="4485306" y="4166141"/>
            <a:ext cx="121058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sz="2000" dirty="0">
                <a:solidFill>
                  <a:schemeClr val="bg1"/>
                </a:solidFill>
                <a:latin typeface="等线 Light" panose="02010600030101010101" pitchFamily="2" charset="-122"/>
                <a:ea typeface="等线 Light" panose="02010600030101010101" pitchFamily="2" charset="-122"/>
                <a:sym typeface="Arial" panose="020B0604020202020204" pitchFamily="34" charset="0"/>
              </a:rPr>
              <a:t>添加标题</a:t>
            </a:r>
            <a:endParaRPr lang="zh-CN" altLang="en-US" sz="2000" dirty="0">
              <a:solidFill>
                <a:schemeClr val="bg1"/>
              </a:solidFill>
              <a:latin typeface="等线 Light" panose="02010600030101010101" pitchFamily="2" charset="-122"/>
              <a:ea typeface="等线 Light" panose="02010600030101010101" pitchFamily="2" charset="-122"/>
            </a:endParaRPr>
          </a:p>
        </p:txBody>
      </p:sp>
      <p:sp>
        <p:nvSpPr>
          <p:cNvPr id="113" name="TextBox 293"/>
          <p:cNvSpPr>
            <a:spLocks noChangeArrowheads="1"/>
          </p:cNvSpPr>
          <p:nvPr/>
        </p:nvSpPr>
        <p:spPr bwMode="auto">
          <a:xfrm>
            <a:off x="6480516" y="4166141"/>
            <a:ext cx="121058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sz="2000" dirty="0">
                <a:solidFill>
                  <a:schemeClr val="bg1"/>
                </a:solidFill>
                <a:latin typeface="等线 Light" panose="02010600030101010101" pitchFamily="2" charset="-122"/>
                <a:ea typeface="等线 Light" panose="02010600030101010101" pitchFamily="2" charset="-122"/>
                <a:sym typeface="Arial" panose="020B0604020202020204" pitchFamily="34" charset="0"/>
              </a:rPr>
              <a:t>添加标题</a:t>
            </a:r>
            <a:endParaRPr lang="zh-CN" altLang="en-US" sz="2000" dirty="0">
              <a:solidFill>
                <a:schemeClr val="bg1"/>
              </a:solidFill>
              <a:latin typeface="等线 Light" panose="02010600030101010101" pitchFamily="2" charset="-122"/>
              <a:ea typeface="等线 Light" panose="02010600030101010101" pitchFamily="2" charset="-122"/>
            </a:endParaRPr>
          </a:p>
        </p:txBody>
      </p:sp>
      <p:sp>
        <p:nvSpPr>
          <p:cNvPr id="114" name="TextBox 294"/>
          <p:cNvSpPr>
            <a:spLocks noChangeArrowheads="1"/>
          </p:cNvSpPr>
          <p:nvPr/>
        </p:nvSpPr>
        <p:spPr bwMode="auto">
          <a:xfrm>
            <a:off x="8513859" y="4166141"/>
            <a:ext cx="121058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sz="2000" dirty="0">
                <a:solidFill>
                  <a:schemeClr val="bg1"/>
                </a:solidFill>
                <a:latin typeface="等线 Light" panose="02010600030101010101" pitchFamily="2" charset="-122"/>
                <a:ea typeface="等线 Light" panose="02010600030101010101" pitchFamily="2" charset="-122"/>
                <a:sym typeface="Arial" panose="020B0604020202020204" pitchFamily="34" charset="0"/>
              </a:rPr>
              <a:t>添加标题</a:t>
            </a:r>
            <a:endParaRPr lang="zh-CN" altLang="en-US" sz="2000" dirty="0">
              <a:solidFill>
                <a:schemeClr val="bg1"/>
              </a:solidFill>
              <a:latin typeface="等线 Light" panose="02010600030101010101" pitchFamily="2" charset="-122"/>
              <a:ea typeface="等线 Light" panose="02010600030101010101" pitchFamily="2" charset="-122"/>
            </a:endParaRPr>
          </a:p>
        </p:txBody>
      </p:sp>
      <p:sp>
        <p:nvSpPr>
          <p:cNvPr id="115"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116"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17"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3150116458"/>
      </p:ext>
    </p:extLst>
  </p:cSld>
  <p:clrMapOvr>
    <a:masterClrMapping/>
  </p:clrMapOvr>
  <mc:AlternateContent xmlns:mc="http://schemas.openxmlformats.org/markup-compatibility/2006" xmlns:p14="http://schemas.microsoft.com/office/powerpoint/2010/main">
    <mc:Choice Requires="p14">
      <p:transition spd="slow" p14:dur="1200" advTm="3901">
        <p:dissolve/>
      </p:transition>
    </mc:Choice>
    <mc:Fallback xmlns="">
      <p:transition spd="slow" advTm="3901">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p:cTn id="11" dur="500" fill="hold"/>
                                        <p:tgtEl>
                                          <p:spTgt spid="41"/>
                                        </p:tgtEl>
                                        <p:attrNameLst>
                                          <p:attrName>ppt_w</p:attrName>
                                        </p:attrNameLst>
                                      </p:cBhvr>
                                      <p:tavLst>
                                        <p:tav tm="0">
                                          <p:val>
                                            <p:fltVal val="0"/>
                                          </p:val>
                                        </p:tav>
                                        <p:tav tm="100000">
                                          <p:val>
                                            <p:strVal val="#ppt_w"/>
                                          </p:val>
                                        </p:tav>
                                      </p:tavLst>
                                    </p:anim>
                                    <p:anim calcmode="lin" valueType="num">
                                      <p:cBhvr>
                                        <p:cTn id="12" dur="500" fill="hold"/>
                                        <p:tgtEl>
                                          <p:spTgt spid="41"/>
                                        </p:tgtEl>
                                        <p:attrNameLst>
                                          <p:attrName>ppt_h</p:attrName>
                                        </p:attrNameLst>
                                      </p:cBhvr>
                                      <p:tavLst>
                                        <p:tav tm="0">
                                          <p:val>
                                            <p:fltVal val="0"/>
                                          </p:val>
                                        </p:tav>
                                        <p:tav tm="100000">
                                          <p:val>
                                            <p:strVal val="#ppt_h"/>
                                          </p:val>
                                        </p:tav>
                                      </p:tavLst>
                                    </p:anim>
                                    <p:animEffect transition="in" filter="fade">
                                      <p:cBhvr>
                                        <p:cTn id="13" dur="500"/>
                                        <p:tgtEl>
                                          <p:spTgt spid="41"/>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106"/>
                                        </p:tgtEl>
                                        <p:attrNameLst>
                                          <p:attrName>style.visibility</p:attrName>
                                        </p:attrNameLst>
                                      </p:cBhvr>
                                      <p:to>
                                        <p:strVal val="visible"/>
                                      </p:to>
                                    </p:set>
                                    <p:anim calcmode="lin" valueType="num">
                                      <p:cBhvr>
                                        <p:cTn id="16" dur="500" fill="hold"/>
                                        <p:tgtEl>
                                          <p:spTgt spid="106"/>
                                        </p:tgtEl>
                                        <p:attrNameLst>
                                          <p:attrName>ppt_w</p:attrName>
                                        </p:attrNameLst>
                                      </p:cBhvr>
                                      <p:tavLst>
                                        <p:tav tm="0">
                                          <p:val>
                                            <p:fltVal val="0"/>
                                          </p:val>
                                        </p:tav>
                                        <p:tav tm="100000">
                                          <p:val>
                                            <p:strVal val="#ppt_w"/>
                                          </p:val>
                                        </p:tav>
                                      </p:tavLst>
                                    </p:anim>
                                    <p:anim calcmode="lin" valueType="num">
                                      <p:cBhvr>
                                        <p:cTn id="17" dur="500" fill="hold"/>
                                        <p:tgtEl>
                                          <p:spTgt spid="106"/>
                                        </p:tgtEl>
                                        <p:attrNameLst>
                                          <p:attrName>ppt_h</p:attrName>
                                        </p:attrNameLst>
                                      </p:cBhvr>
                                      <p:tavLst>
                                        <p:tav tm="0">
                                          <p:val>
                                            <p:fltVal val="0"/>
                                          </p:val>
                                        </p:tav>
                                        <p:tav tm="100000">
                                          <p:val>
                                            <p:strVal val="#ppt_h"/>
                                          </p:val>
                                        </p:tav>
                                      </p:tavLst>
                                    </p:anim>
                                    <p:animEffect transition="in" filter="fade">
                                      <p:cBhvr>
                                        <p:cTn id="18" dur="500"/>
                                        <p:tgtEl>
                                          <p:spTgt spid="106"/>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p:cTn id="21" dur="500" fill="hold"/>
                                        <p:tgtEl>
                                          <p:spTgt spid="111"/>
                                        </p:tgtEl>
                                        <p:attrNameLst>
                                          <p:attrName>ppt_w</p:attrName>
                                        </p:attrNameLst>
                                      </p:cBhvr>
                                      <p:tavLst>
                                        <p:tav tm="0">
                                          <p:val>
                                            <p:fltVal val="0"/>
                                          </p:val>
                                        </p:tav>
                                        <p:tav tm="100000">
                                          <p:val>
                                            <p:strVal val="#ppt_w"/>
                                          </p:val>
                                        </p:tav>
                                      </p:tavLst>
                                    </p:anim>
                                    <p:anim calcmode="lin" valueType="num">
                                      <p:cBhvr>
                                        <p:cTn id="22" dur="500" fill="hold"/>
                                        <p:tgtEl>
                                          <p:spTgt spid="111"/>
                                        </p:tgtEl>
                                        <p:attrNameLst>
                                          <p:attrName>ppt_h</p:attrName>
                                        </p:attrNameLst>
                                      </p:cBhvr>
                                      <p:tavLst>
                                        <p:tav tm="0">
                                          <p:val>
                                            <p:fltVal val="0"/>
                                          </p:val>
                                        </p:tav>
                                        <p:tav tm="100000">
                                          <p:val>
                                            <p:strVal val="#ppt_h"/>
                                          </p:val>
                                        </p:tav>
                                      </p:tavLst>
                                    </p:anim>
                                    <p:animEffect transition="in" filter="fade">
                                      <p:cBhvr>
                                        <p:cTn id="23" dur="500"/>
                                        <p:tgtEl>
                                          <p:spTgt spid="111"/>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70"/>
                                        </p:tgtEl>
                                        <p:attrNameLst>
                                          <p:attrName>style.visibility</p:attrName>
                                        </p:attrNameLst>
                                      </p:cBhvr>
                                      <p:to>
                                        <p:strVal val="visible"/>
                                      </p:to>
                                    </p:set>
                                    <p:anim calcmode="lin" valueType="num">
                                      <p:cBhvr>
                                        <p:cTn id="28" dur="500" fill="hold"/>
                                        <p:tgtEl>
                                          <p:spTgt spid="70"/>
                                        </p:tgtEl>
                                        <p:attrNameLst>
                                          <p:attrName>ppt_w</p:attrName>
                                        </p:attrNameLst>
                                      </p:cBhvr>
                                      <p:tavLst>
                                        <p:tav tm="0">
                                          <p:val>
                                            <p:fltVal val="0"/>
                                          </p:val>
                                        </p:tav>
                                        <p:tav tm="100000">
                                          <p:val>
                                            <p:strVal val="#ppt_w"/>
                                          </p:val>
                                        </p:tav>
                                      </p:tavLst>
                                    </p:anim>
                                    <p:anim calcmode="lin" valueType="num">
                                      <p:cBhvr>
                                        <p:cTn id="29" dur="500" fill="hold"/>
                                        <p:tgtEl>
                                          <p:spTgt spid="70"/>
                                        </p:tgtEl>
                                        <p:attrNameLst>
                                          <p:attrName>ppt_h</p:attrName>
                                        </p:attrNameLst>
                                      </p:cBhvr>
                                      <p:tavLst>
                                        <p:tav tm="0">
                                          <p:val>
                                            <p:fltVal val="0"/>
                                          </p:val>
                                        </p:tav>
                                        <p:tav tm="100000">
                                          <p:val>
                                            <p:strVal val="#ppt_h"/>
                                          </p:val>
                                        </p:tav>
                                      </p:tavLst>
                                    </p:anim>
                                    <p:animEffect transition="in" filter="fade">
                                      <p:cBhvr>
                                        <p:cTn id="30" dur="500"/>
                                        <p:tgtEl>
                                          <p:spTgt spid="70"/>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07"/>
                                        </p:tgtEl>
                                        <p:attrNameLst>
                                          <p:attrName>style.visibility</p:attrName>
                                        </p:attrNameLst>
                                      </p:cBhvr>
                                      <p:to>
                                        <p:strVal val="visible"/>
                                      </p:to>
                                    </p:set>
                                    <p:anim calcmode="lin" valueType="num">
                                      <p:cBhvr>
                                        <p:cTn id="33" dur="500" fill="hold"/>
                                        <p:tgtEl>
                                          <p:spTgt spid="107"/>
                                        </p:tgtEl>
                                        <p:attrNameLst>
                                          <p:attrName>ppt_w</p:attrName>
                                        </p:attrNameLst>
                                      </p:cBhvr>
                                      <p:tavLst>
                                        <p:tav tm="0">
                                          <p:val>
                                            <p:fltVal val="0"/>
                                          </p:val>
                                        </p:tav>
                                        <p:tav tm="100000">
                                          <p:val>
                                            <p:strVal val="#ppt_w"/>
                                          </p:val>
                                        </p:tav>
                                      </p:tavLst>
                                    </p:anim>
                                    <p:anim calcmode="lin" valueType="num">
                                      <p:cBhvr>
                                        <p:cTn id="34" dur="500" fill="hold"/>
                                        <p:tgtEl>
                                          <p:spTgt spid="107"/>
                                        </p:tgtEl>
                                        <p:attrNameLst>
                                          <p:attrName>ppt_h</p:attrName>
                                        </p:attrNameLst>
                                      </p:cBhvr>
                                      <p:tavLst>
                                        <p:tav tm="0">
                                          <p:val>
                                            <p:fltVal val="0"/>
                                          </p:val>
                                        </p:tav>
                                        <p:tav tm="100000">
                                          <p:val>
                                            <p:strVal val="#ppt_h"/>
                                          </p:val>
                                        </p:tav>
                                      </p:tavLst>
                                    </p:anim>
                                    <p:animEffect transition="in" filter="fade">
                                      <p:cBhvr>
                                        <p:cTn id="35" dur="500"/>
                                        <p:tgtEl>
                                          <p:spTgt spid="107"/>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nodeType="clickEffect">
                                  <p:stCondLst>
                                    <p:cond delay="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animEffect transition="in" filter="fade">
                                      <p:cBhvr>
                                        <p:cTn id="47" dur="500"/>
                                        <p:tgtEl>
                                          <p:spTgt spid="82"/>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108"/>
                                        </p:tgtEl>
                                        <p:attrNameLst>
                                          <p:attrName>style.visibility</p:attrName>
                                        </p:attrNameLst>
                                      </p:cBhvr>
                                      <p:to>
                                        <p:strVal val="visible"/>
                                      </p:to>
                                    </p:set>
                                    <p:anim calcmode="lin" valueType="num">
                                      <p:cBhvr>
                                        <p:cTn id="50" dur="500" fill="hold"/>
                                        <p:tgtEl>
                                          <p:spTgt spid="108"/>
                                        </p:tgtEl>
                                        <p:attrNameLst>
                                          <p:attrName>ppt_w</p:attrName>
                                        </p:attrNameLst>
                                      </p:cBhvr>
                                      <p:tavLst>
                                        <p:tav tm="0">
                                          <p:val>
                                            <p:fltVal val="0"/>
                                          </p:val>
                                        </p:tav>
                                        <p:tav tm="100000">
                                          <p:val>
                                            <p:strVal val="#ppt_w"/>
                                          </p:val>
                                        </p:tav>
                                      </p:tavLst>
                                    </p:anim>
                                    <p:anim calcmode="lin" valueType="num">
                                      <p:cBhvr>
                                        <p:cTn id="51" dur="500" fill="hold"/>
                                        <p:tgtEl>
                                          <p:spTgt spid="108"/>
                                        </p:tgtEl>
                                        <p:attrNameLst>
                                          <p:attrName>ppt_h</p:attrName>
                                        </p:attrNameLst>
                                      </p:cBhvr>
                                      <p:tavLst>
                                        <p:tav tm="0">
                                          <p:val>
                                            <p:fltVal val="0"/>
                                          </p:val>
                                        </p:tav>
                                        <p:tav tm="100000">
                                          <p:val>
                                            <p:strVal val="#ppt_h"/>
                                          </p:val>
                                        </p:tav>
                                      </p:tavLst>
                                    </p:anim>
                                    <p:animEffect transition="in" filter="fade">
                                      <p:cBhvr>
                                        <p:cTn id="52" dur="500"/>
                                        <p:tgtEl>
                                          <p:spTgt spid="108"/>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113"/>
                                        </p:tgtEl>
                                        <p:attrNameLst>
                                          <p:attrName>style.visibility</p:attrName>
                                        </p:attrNameLst>
                                      </p:cBhvr>
                                      <p:to>
                                        <p:strVal val="visible"/>
                                      </p:to>
                                    </p:set>
                                    <p:anim calcmode="lin" valueType="num">
                                      <p:cBhvr>
                                        <p:cTn id="55" dur="500" fill="hold"/>
                                        <p:tgtEl>
                                          <p:spTgt spid="113"/>
                                        </p:tgtEl>
                                        <p:attrNameLst>
                                          <p:attrName>ppt_w</p:attrName>
                                        </p:attrNameLst>
                                      </p:cBhvr>
                                      <p:tavLst>
                                        <p:tav tm="0">
                                          <p:val>
                                            <p:fltVal val="0"/>
                                          </p:val>
                                        </p:tav>
                                        <p:tav tm="100000">
                                          <p:val>
                                            <p:strVal val="#ppt_w"/>
                                          </p:val>
                                        </p:tav>
                                      </p:tavLst>
                                    </p:anim>
                                    <p:anim calcmode="lin" valueType="num">
                                      <p:cBhvr>
                                        <p:cTn id="56" dur="500" fill="hold"/>
                                        <p:tgtEl>
                                          <p:spTgt spid="113"/>
                                        </p:tgtEl>
                                        <p:attrNameLst>
                                          <p:attrName>ppt_h</p:attrName>
                                        </p:attrNameLst>
                                      </p:cBhvr>
                                      <p:tavLst>
                                        <p:tav tm="0">
                                          <p:val>
                                            <p:fltVal val="0"/>
                                          </p:val>
                                        </p:tav>
                                        <p:tav tm="100000">
                                          <p:val>
                                            <p:strVal val="#ppt_h"/>
                                          </p:val>
                                        </p:tav>
                                      </p:tavLst>
                                    </p:anim>
                                    <p:animEffect transition="in" filter="fade">
                                      <p:cBhvr>
                                        <p:cTn id="57" dur="500"/>
                                        <p:tgtEl>
                                          <p:spTgt spid="113"/>
                                        </p:tgtEl>
                                      </p:cBhvr>
                                    </p:animEffect>
                                  </p:childTnLst>
                                </p:cTn>
                              </p:par>
                            </p:childTnLst>
                          </p:cTn>
                        </p:par>
                      </p:childTnLst>
                    </p:cTn>
                  </p:par>
                  <p:par>
                    <p:cTn id="58" fill="hold">
                      <p:stCondLst>
                        <p:cond delay="indefinite"/>
                      </p:stCondLst>
                      <p:childTnLst>
                        <p:par>
                          <p:cTn id="59" fill="hold">
                            <p:stCondLst>
                              <p:cond delay="0"/>
                            </p:stCondLst>
                            <p:childTnLst>
                              <p:par>
                                <p:cTn id="60" presetID="53" presetClass="entr" presetSubtype="16" fill="hold" nodeType="clickEffect">
                                  <p:stCondLst>
                                    <p:cond delay="0"/>
                                  </p:stCondLst>
                                  <p:childTnLst>
                                    <p:set>
                                      <p:cBhvr>
                                        <p:cTn id="61" dur="1" fill="hold">
                                          <p:stCondLst>
                                            <p:cond delay="0"/>
                                          </p:stCondLst>
                                        </p:cTn>
                                        <p:tgtEl>
                                          <p:spTgt spid="94"/>
                                        </p:tgtEl>
                                        <p:attrNameLst>
                                          <p:attrName>style.visibility</p:attrName>
                                        </p:attrNameLst>
                                      </p:cBhvr>
                                      <p:to>
                                        <p:strVal val="visible"/>
                                      </p:to>
                                    </p:set>
                                    <p:anim calcmode="lin" valueType="num">
                                      <p:cBhvr>
                                        <p:cTn id="62" dur="500" fill="hold"/>
                                        <p:tgtEl>
                                          <p:spTgt spid="94"/>
                                        </p:tgtEl>
                                        <p:attrNameLst>
                                          <p:attrName>ppt_w</p:attrName>
                                        </p:attrNameLst>
                                      </p:cBhvr>
                                      <p:tavLst>
                                        <p:tav tm="0">
                                          <p:val>
                                            <p:fltVal val="0"/>
                                          </p:val>
                                        </p:tav>
                                        <p:tav tm="100000">
                                          <p:val>
                                            <p:strVal val="#ppt_w"/>
                                          </p:val>
                                        </p:tav>
                                      </p:tavLst>
                                    </p:anim>
                                    <p:anim calcmode="lin" valueType="num">
                                      <p:cBhvr>
                                        <p:cTn id="63" dur="500" fill="hold"/>
                                        <p:tgtEl>
                                          <p:spTgt spid="94"/>
                                        </p:tgtEl>
                                        <p:attrNameLst>
                                          <p:attrName>ppt_h</p:attrName>
                                        </p:attrNameLst>
                                      </p:cBhvr>
                                      <p:tavLst>
                                        <p:tav tm="0">
                                          <p:val>
                                            <p:fltVal val="0"/>
                                          </p:val>
                                        </p:tav>
                                        <p:tav tm="100000">
                                          <p:val>
                                            <p:strVal val="#ppt_h"/>
                                          </p:val>
                                        </p:tav>
                                      </p:tavLst>
                                    </p:anim>
                                    <p:animEffect transition="in" filter="fade">
                                      <p:cBhvr>
                                        <p:cTn id="64" dur="500"/>
                                        <p:tgtEl>
                                          <p:spTgt spid="94"/>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109"/>
                                        </p:tgtEl>
                                        <p:attrNameLst>
                                          <p:attrName>style.visibility</p:attrName>
                                        </p:attrNameLst>
                                      </p:cBhvr>
                                      <p:to>
                                        <p:strVal val="visible"/>
                                      </p:to>
                                    </p:set>
                                    <p:anim calcmode="lin" valueType="num">
                                      <p:cBhvr>
                                        <p:cTn id="67" dur="500" fill="hold"/>
                                        <p:tgtEl>
                                          <p:spTgt spid="109"/>
                                        </p:tgtEl>
                                        <p:attrNameLst>
                                          <p:attrName>ppt_w</p:attrName>
                                        </p:attrNameLst>
                                      </p:cBhvr>
                                      <p:tavLst>
                                        <p:tav tm="0">
                                          <p:val>
                                            <p:fltVal val="0"/>
                                          </p:val>
                                        </p:tav>
                                        <p:tav tm="100000">
                                          <p:val>
                                            <p:strVal val="#ppt_w"/>
                                          </p:val>
                                        </p:tav>
                                      </p:tavLst>
                                    </p:anim>
                                    <p:anim calcmode="lin" valueType="num">
                                      <p:cBhvr>
                                        <p:cTn id="68" dur="500" fill="hold"/>
                                        <p:tgtEl>
                                          <p:spTgt spid="109"/>
                                        </p:tgtEl>
                                        <p:attrNameLst>
                                          <p:attrName>ppt_h</p:attrName>
                                        </p:attrNameLst>
                                      </p:cBhvr>
                                      <p:tavLst>
                                        <p:tav tm="0">
                                          <p:val>
                                            <p:fltVal val="0"/>
                                          </p:val>
                                        </p:tav>
                                        <p:tav tm="100000">
                                          <p:val>
                                            <p:strVal val="#ppt_h"/>
                                          </p:val>
                                        </p:tav>
                                      </p:tavLst>
                                    </p:anim>
                                    <p:animEffect transition="in" filter="fade">
                                      <p:cBhvr>
                                        <p:cTn id="69" dur="500"/>
                                        <p:tgtEl>
                                          <p:spTgt spid="109"/>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114"/>
                                        </p:tgtEl>
                                        <p:attrNameLst>
                                          <p:attrName>style.visibility</p:attrName>
                                        </p:attrNameLst>
                                      </p:cBhvr>
                                      <p:to>
                                        <p:strVal val="visible"/>
                                      </p:to>
                                    </p:set>
                                    <p:anim calcmode="lin" valueType="num">
                                      <p:cBhvr>
                                        <p:cTn id="72" dur="500" fill="hold"/>
                                        <p:tgtEl>
                                          <p:spTgt spid="114"/>
                                        </p:tgtEl>
                                        <p:attrNameLst>
                                          <p:attrName>ppt_w</p:attrName>
                                        </p:attrNameLst>
                                      </p:cBhvr>
                                      <p:tavLst>
                                        <p:tav tm="0">
                                          <p:val>
                                            <p:fltVal val="0"/>
                                          </p:val>
                                        </p:tav>
                                        <p:tav tm="100000">
                                          <p:val>
                                            <p:strVal val="#ppt_w"/>
                                          </p:val>
                                        </p:tav>
                                      </p:tavLst>
                                    </p:anim>
                                    <p:anim calcmode="lin" valueType="num">
                                      <p:cBhvr>
                                        <p:cTn id="73" dur="500" fill="hold"/>
                                        <p:tgtEl>
                                          <p:spTgt spid="114"/>
                                        </p:tgtEl>
                                        <p:attrNameLst>
                                          <p:attrName>ppt_h</p:attrName>
                                        </p:attrNameLst>
                                      </p:cBhvr>
                                      <p:tavLst>
                                        <p:tav tm="0">
                                          <p:val>
                                            <p:fltVal val="0"/>
                                          </p:val>
                                        </p:tav>
                                        <p:tav tm="100000">
                                          <p:val>
                                            <p:strVal val="#ppt_h"/>
                                          </p:val>
                                        </p:tav>
                                      </p:tavLst>
                                    </p:anim>
                                    <p:animEffect transition="in" filter="fade">
                                      <p:cBhvr>
                                        <p:cTn id="74" dur="500"/>
                                        <p:tgtEl>
                                          <p:spTgt spid="114"/>
                                        </p:tgtEl>
                                      </p:cBhvr>
                                    </p:animEffect>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110"/>
                                        </p:tgtEl>
                                        <p:attrNameLst>
                                          <p:attrName>style.visibility</p:attrName>
                                        </p:attrNameLst>
                                      </p:cBhvr>
                                      <p:to>
                                        <p:strVal val="visible"/>
                                      </p:to>
                                    </p:set>
                                    <p:anim calcmode="lin" valueType="num">
                                      <p:cBhvr additive="base">
                                        <p:cTn id="79" dur="500" fill="hold"/>
                                        <p:tgtEl>
                                          <p:spTgt spid="110"/>
                                        </p:tgtEl>
                                        <p:attrNameLst>
                                          <p:attrName>ppt_x</p:attrName>
                                        </p:attrNameLst>
                                      </p:cBhvr>
                                      <p:tavLst>
                                        <p:tav tm="0">
                                          <p:val>
                                            <p:strVal val="#ppt_x"/>
                                          </p:val>
                                        </p:tav>
                                        <p:tav tm="100000">
                                          <p:val>
                                            <p:strVal val="#ppt_x"/>
                                          </p:val>
                                        </p:tav>
                                      </p:tavLst>
                                    </p:anim>
                                    <p:anim calcmode="lin" valueType="num">
                                      <p:cBhvr additive="base">
                                        <p:cTn id="80"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81" fill="hold" display="0">
                  <p:stCondLst>
                    <p:cond delay="indefinite"/>
                  </p:stCondLst>
                  <p:endCondLst>
                    <p:cond evt="onStopAudio" delay="0">
                      <p:tgtEl>
                        <p:sldTgt/>
                      </p:tgtEl>
                    </p:cond>
                  </p:endCondLst>
                </p:cTn>
                <p:tgtEl>
                  <p:spTgt spid="3"/>
                </p:tgtEl>
              </p:cMediaNode>
            </p:audio>
          </p:childTnLst>
        </p:cTn>
      </p:par>
    </p:tnLst>
    <p:bldLst>
      <p:bldP spid="106" grpId="0"/>
      <p:bldP spid="107" grpId="0"/>
      <p:bldP spid="108" grpId="0"/>
      <p:bldP spid="109" grpId="0"/>
      <p:bldP spid="110" grpId="0"/>
      <p:bldP spid="111" grpId="0"/>
      <p:bldP spid="112" grpId="0"/>
      <p:bldP spid="113" grpId="0"/>
      <p:bldP spid="114"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组合 1"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GrpSpPr/>
          <p:nvPr/>
        </p:nvGrpSpPr>
        <p:grpSpPr>
          <a:xfrm>
            <a:off x="3736070" y="2303105"/>
            <a:ext cx="4486251" cy="3457035"/>
            <a:chOff x="3883553" y="2421092"/>
            <a:chExt cx="4486251" cy="3457035"/>
          </a:xfrm>
          <a:solidFill>
            <a:srgbClr val="247CAE"/>
          </a:solidFill>
        </p:grpSpPr>
        <p:sp>
          <p:nvSpPr>
            <p:cNvPr id="3" name="矩形 1"/>
            <p:cNvSpPr/>
            <p:nvPr/>
          </p:nvSpPr>
          <p:spPr>
            <a:xfrm rot="293950">
              <a:off x="5179612" y="5548017"/>
              <a:ext cx="3190192" cy="330110"/>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grpFill/>
            <a:ln w="25400" cap="flat" cmpd="sng" algn="ctr">
              <a:noFill/>
              <a:prstDash val="solid"/>
            </a:ln>
            <a:effectLst/>
          </p:spPr>
          <p:txBody>
            <a:bodyPr rtlCol="0" anchor="ctr"/>
            <a:lstStyle/>
            <a:p>
              <a:pPr algn="ctr">
                <a:defRPr/>
              </a:pPr>
              <a:endParaRPr lang="en-US" kern="0">
                <a:solidFill>
                  <a:sysClr val="window" lastClr="FFFFFF"/>
                </a:solidFill>
                <a:latin typeface="Calibri" panose="020F0502020204030204"/>
              </a:endParaRPr>
            </a:p>
          </p:txBody>
        </p:sp>
        <p:sp>
          <p:nvSpPr>
            <p:cNvPr id="4" name="矩形 1"/>
            <p:cNvSpPr/>
            <p:nvPr/>
          </p:nvSpPr>
          <p:spPr>
            <a:xfrm rot="19913209">
              <a:off x="4861409" y="4859457"/>
              <a:ext cx="1931602" cy="322151"/>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grpFill/>
            <a:ln w="25400" cap="flat" cmpd="sng" algn="ctr">
              <a:noFill/>
              <a:prstDash val="solid"/>
            </a:ln>
            <a:effectLst/>
          </p:spPr>
          <p:txBody>
            <a:bodyPr rtlCol="0" anchor="ctr"/>
            <a:lstStyle/>
            <a:p>
              <a:pPr algn="ctr">
                <a:defRPr/>
              </a:pPr>
              <a:endParaRPr lang="en-US" kern="0">
                <a:solidFill>
                  <a:sysClr val="window" lastClr="FFFFFF"/>
                </a:solidFill>
                <a:latin typeface="Calibri" panose="020F0502020204030204"/>
              </a:endParaRPr>
            </a:p>
          </p:txBody>
        </p:sp>
        <p:sp>
          <p:nvSpPr>
            <p:cNvPr id="5" name="矩形 1"/>
            <p:cNvSpPr/>
            <p:nvPr/>
          </p:nvSpPr>
          <p:spPr>
            <a:xfrm rot="708470">
              <a:off x="4483663" y="4079411"/>
              <a:ext cx="2394472" cy="322151"/>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grpFill/>
            <a:ln w="25400" cap="flat" cmpd="sng" algn="ctr">
              <a:noFill/>
              <a:prstDash val="solid"/>
            </a:ln>
            <a:effectLst/>
          </p:spPr>
          <p:txBody>
            <a:bodyPr rtlCol="0" anchor="ctr"/>
            <a:lstStyle/>
            <a:p>
              <a:pPr algn="ctr">
                <a:defRPr/>
              </a:pPr>
              <a:endParaRPr lang="en-US" kern="0">
                <a:solidFill>
                  <a:sysClr val="window" lastClr="FFFFFF"/>
                </a:solidFill>
                <a:latin typeface="Calibri" panose="020F0502020204030204"/>
              </a:endParaRPr>
            </a:p>
          </p:txBody>
        </p:sp>
        <p:sp>
          <p:nvSpPr>
            <p:cNvPr id="6" name="矩形 1"/>
            <p:cNvSpPr/>
            <p:nvPr/>
          </p:nvSpPr>
          <p:spPr>
            <a:xfrm rot="293950">
              <a:off x="4560710" y="2421092"/>
              <a:ext cx="3190192" cy="330110"/>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grpFill/>
            <a:ln w="25400" cap="flat" cmpd="sng" algn="ctr">
              <a:noFill/>
              <a:prstDash val="solid"/>
            </a:ln>
            <a:effectLst/>
          </p:spPr>
          <p:txBody>
            <a:bodyPr rtlCol="0" anchor="ctr"/>
            <a:lstStyle/>
            <a:p>
              <a:pPr algn="ctr">
                <a:defRPr/>
              </a:pPr>
              <a:endParaRPr lang="en-US" kern="0">
                <a:solidFill>
                  <a:sysClr val="window" lastClr="FFFFFF"/>
                </a:solidFill>
                <a:latin typeface="Calibri" panose="020F0502020204030204"/>
              </a:endParaRPr>
            </a:p>
          </p:txBody>
        </p:sp>
        <p:sp>
          <p:nvSpPr>
            <p:cNvPr id="7" name="矩形 1"/>
            <p:cNvSpPr/>
            <p:nvPr/>
          </p:nvSpPr>
          <p:spPr>
            <a:xfrm rot="20453418">
              <a:off x="3883553" y="3253044"/>
              <a:ext cx="3827870" cy="421241"/>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grpFill/>
            <a:ln w="25400" cap="flat" cmpd="sng" algn="ctr">
              <a:noFill/>
              <a:prstDash val="solid"/>
            </a:ln>
            <a:effectLst/>
          </p:spPr>
          <p:txBody>
            <a:bodyPr rtlCol="0" anchor="ctr"/>
            <a:lstStyle/>
            <a:p>
              <a:pPr algn="ctr">
                <a:defRPr/>
              </a:pPr>
              <a:endParaRPr lang="en-US" kern="0">
                <a:solidFill>
                  <a:sysClr val="window" lastClr="FFFFFF"/>
                </a:solidFill>
                <a:latin typeface="Calibri" panose="020F0502020204030204"/>
              </a:endParaRPr>
            </a:p>
          </p:txBody>
        </p:sp>
      </p:grpSp>
      <p:grpSp>
        <p:nvGrpSpPr>
          <p:cNvPr id="8" name="组合 7"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GrpSpPr/>
          <p:nvPr/>
        </p:nvGrpSpPr>
        <p:grpSpPr>
          <a:xfrm>
            <a:off x="3223090" y="3338419"/>
            <a:ext cx="1170925" cy="1117972"/>
            <a:chOff x="3370573" y="3456406"/>
            <a:chExt cx="1170925" cy="1117972"/>
          </a:xfrm>
        </p:grpSpPr>
        <p:sp>
          <p:nvSpPr>
            <p:cNvPr id="9" name="椭圆 8"/>
            <p:cNvSpPr/>
            <p:nvPr/>
          </p:nvSpPr>
          <p:spPr>
            <a:xfrm>
              <a:off x="3412706" y="3456406"/>
              <a:ext cx="1117972" cy="1117972"/>
            </a:xfrm>
            <a:prstGeom prst="ellipse">
              <a:avLst/>
            </a:prstGeom>
            <a:solidFill>
              <a:schemeClr val="accent1">
                <a:lumMod val="50000"/>
              </a:schemeClr>
            </a:solidFill>
            <a:ln w="571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dirty="0">
                <a:solidFill>
                  <a:sysClr val="window" lastClr="FFFFFF"/>
                </a:solidFill>
                <a:latin typeface="Calibri" panose="020F0502020204030204"/>
              </a:endParaRPr>
            </a:p>
          </p:txBody>
        </p:sp>
        <p:sp>
          <p:nvSpPr>
            <p:cNvPr id="10" name="TextBox 64"/>
            <p:cNvSpPr txBox="1"/>
            <p:nvPr/>
          </p:nvSpPr>
          <p:spPr>
            <a:xfrm flipH="1">
              <a:off x="3370573" y="3741974"/>
              <a:ext cx="1170925" cy="58477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algn="ctr">
                <a:defRPr/>
              </a:pPr>
              <a:r>
                <a:rPr lang="en-US" altLang="zh-CN" sz="4000" dirty="0">
                  <a:solidFill>
                    <a:srgbClr val="FFFFFF"/>
                  </a:solidFill>
                  <a:latin typeface="Arial Rounded MT Bold" panose="020F0704030504030204" pitchFamily="34" charset="0"/>
                  <a:cs typeface="Times New Roman" panose="02020603050405020304" pitchFamily="18" charset="0"/>
                </a:rPr>
                <a:t>03</a:t>
              </a:r>
              <a:endParaRPr lang="zh-CN" altLang="en-US" sz="4000" dirty="0">
                <a:solidFill>
                  <a:srgbClr val="FFFFFF"/>
                </a:solidFill>
                <a:latin typeface="Arial Rounded MT Bold" panose="020F0704030504030204" pitchFamily="34" charset="0"/>
                <a:cs typeface="Times New Roman" panose="02020603050405020304" pitchFamily="18" charset="0"/>
              </a:endParaRPr>
            </a:p>
          </p:txBody>
        </p:sp>
      </p:grpSp>
      <p:grpSp>
        <p:nvGrpSpPr>
          <p:cNvPr id="11" name="组合 10"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GrpSpPr/>
          <p:nvPr/>
        </p:nvGrpSpPr>
        <p:grpSpPr>
          <a:xfrm>
            <a:off x="7343192" y="2019448"/>
            <a:ext cx="1170925" cy="1117972"/>
            <a:chOff x="7505915" y="2091715"/>
            <a:chExt cx="1170925" cy="1117972"/>
          </a:xfrm>
        </p:grpSpPr>
        <p:sp>
          <p:nvSpPr>
            <p:cNvPr id="12" name="椭圆 11"/>
            <p:cNvSpPr/>
            <p:nvPr/>
          </p:nvSpPr>
          <p:spPr>
            <a:xfrm>
              <a:off x="7558868" y="2091715"/>
              <a:ext cx="1117972" cy="1117972"/>
            </a:xfrm>
            <a:prstGeom prst="ellipse">
              <a:avLst/>
            </a:prstGeom>
            <a:solidFill>
              <a:schemeClr val="accent1">
                <a:lumMod val="50000"/>
              </a:schemeClr>
            </a:solidFill>
            <a:ln w="571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dirty="0">
                <a:solidFill>
                  <a:sysClr val="window" lastClr="FFFFFF"/>
                </a:solidFill>
                <a:latin typeface="Calibri" panose="020F0502020204030204"/>
              </a:endParaRPr>
            </a:p>
          </p:txBody>
        </p:sp>
        <p:sp>
          <p:nvSpPr>
            <p:cNvPr id="13" name="TextBox 65"/>
            <p:cNvSpPr txBox="1"/>
            <p:nvPr/>
          </p:nvSpPr>
          <p:spPr>
            <a:xfrm flipH="1">
              <a:off x="7505915" y="2371491"/>
              <a:ext cx="1170925" cy="58477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algn="ctr">
                <a:defRPr/>
              </a:pPr>
              <a:r>
                <a:rPr lang="en-US" altLang="zh-CN" sz="4000" dirty="0">
                  <a:solidFill>
                    <a:srgbClr val="FFFFFF"/>
                  </a:solidFill>
                  <a:latin typeface="Arial Rounded MT Bold" panose="020F0704030504030204" pitchFamily="34" charset="0"/>
                  <a:cs typeface="Times New Roman" panose="02020603050405020304" pitchFamily="18" charset="0"/>
                </a:rPr>
                <a:t>02</a:t>
              </a:r>
              <a:endParaRPr lang="zh-CN" altLang="en-US" sz="4000" dirty="0">
                <a:solidFill>
                  <a:srgbClr val="FFFFFF"/>
                </a:solidFill>
                <a:latin typeface="Arial Rounded MT Bold" panose="020F0704030504030204" pitchFamily="34" charset="0"/>
                <a:cs typeface="Times New Roman" panose="02020603050405020304" pitchFamily="18" charset="0"/>
              </a:endParaRPr>
            </a:p>
          </p:txBody>
        </p:sp>
      </p:grpSp>
      <p:grpSp>
        <p:nvGrpSpPr>
          <p:cNvPr id="14" name="组合 13"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GrpSpPr/>
          <p:nvPr/>
        </p:nvGrpSpPr>
        <p:grpSpPr>
          <a:xfrm>
            <a:off x="7549747" y="5105674"/>
            <a:ext cx="1170925" cy="1117972"/>
            <a:chOff x="7697230" y="5223661"/>
            <a:chExt cx="1170925" cy="1117972"/>
          </a:xfrm>
        </p:grpSpPr>
        <p:sp>
          <p:nvSpPr>
            <p:cNvPr id="15" name="椭圆 14"/>
            <p:cNvSpPr/>
            <p:nvPr/>
          </p:nvSpPr>
          <p:spPr>
            <a:xfrm>
              <a:off x="7723707" y="5223661"/>
              <a:ext cx="1117972" cy="1117972"/>
            </a:xfrm>
            <a:prstGeom prst="ellipse">
              <a:avLst/>
            </a:prstGeom>
            <a:solidFill>
              <a:schemeClr val="accent1">
                <a:lumMod val="50000"/>
              </a:schemeClr>
            </a:solidFill>
            <a:ln w="571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 lastClr="FFFFFF"/>
                </a:solidFill>
                <a:latin typeface="Calibri" panose="020F0502020204030204"/>
              </a:endParaRPr>
            </a:p>
          </p:txBody>
        </p:sp>
        <p:sp>
          <p:nvSpPr>
            <p:cNvPr id="16" name="TextBox 66"/>
            <p:cNvSpPr txBox="1"/>
            <p:nvPr/>
          </p:nvSpPr>
          <p:spPr>
            <a:xfrm flipH="1">
              <a:off x="7697230" y="5535706"/>
              <a:ext cx="1170925" cy="584775"/>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algn="ctr">
                <a:defRPr/>
              </a:pPr>
              <a:r>
                <a:rPr lang="en-US" altLang="zh-CN" sz="4000" dirty="0">
                  <a:solidFill>
                    <a:srgbClr val="FFFFFF"/>
                  </a:solidFill>
                  <a:latin typeface="Arial Rounded MT Bold" panose="020F0704030504030204" pitchFamily="34" charset="0"/>
                  <a:cs typeface="Times New Roman" panose="02020603050405020304" pitchFamily="18" charset="0"/>
                </a:rPr>
                <a:t>06</a:t>
              </a:r>
              <a:endParaRPr lang="zh-CN" altLang="en-US" sz="4000" dirty="0">
                <a:solidFill>
                  <a:srgbClr val="FFFFFF"/>
                </a:solidFill>
                <a:latin typeface="Arial Rounded MT Bold" panose="020F0704030504030204" pitchFamily="34" charset="0"/>
                <a:cs typeface="Times New Roman" panose="02020603050405020304" pitchFamily="18" charset="0"/>
              </a:endParaRPr>
            </a:p>
          </p:txBody>
        </p:sp>
      </p:grpSp>
      <p:grpSp>
        <p:nvGrpSpPr>
          <p:cNvPr id="17" name="组合 16"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GrpSpPr/>
          <p:nvPr/>
        </p:nvGrpSpPr>
        <p:grpSpPr>
          <a:xfrm>
            <a:off x="6357769" y="4026480"/>
            <a:ext cx="864880" cy="660219"/>
            <a:chOff x="6505252" y="4144467"/>
            <a:chExt cx="864880" cy="660219"/>
          </a:xfrm>
        </p:grpSpPr>
        <p:sp>
          <p:nvSpPr>
            <p:cNvPr id="18" name="椭圆 17"/>
            <p:cNvSpPr/>
            <p:nvPr/>
          </p:nvSpPr>
          <p:spPr>
            <a:xfrm>
              <a:off x="6597025" y="4144467"/>
              <a:ext cx="660219" cy="660219"/>
            </a:xfrm>
            <a:prstGeom prst="ellipse">
              <a:avLst/>
            </a:prstGeom>
            <a:solidFill>
              <a:schemeClr val="accent1">
                <a:lumMod val="50000"/>
              </a:schemeClr>
            </a:solidFill>
            <a:ln w="571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dirty="0">
                <a:solidFill>
                  <a:sysClr val="window" lastClr="FFFFFF"/>
                </a:solidFill>
                <a:latin typeface="Calibri" panose="020F0502020204030204"/>
              </a:endParaRPr>
            </a:p>
          </p:txBody>
        </p:sp>
        <p:sp>
          <p:nvSpPr>
            <p:cNvPr id="19" name="TextBox 67"/>
            <p:cNvSpPr txBox="1"/>
            <p:nvPr/>
          </p:nvSpPr>
          <p:spPr>
            <a:xfrm flipH="1">
              <a:off x="6505252" y="4270942"/>
              <a:ext cx="864880" cy="43704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algn="ctr">
                <a:defRPr/>
              </a:pPr>
              <a:r>
                <a:rPr lang="en-US" altLang="zh-CN" sz="2800" dirty="0">
                  <a:solidFill>
                    <a:srgbClr val="FFFFFF"/>
                  </a:solidFill>
                  <a:latin typeface="Arial Rounded MT Bold" panose="020F0704030504030204" pitchFamily="34" charset="0"/>
                  <a:cs typeface="Times New Roman" panose="02020603050405020304" pitchFamily="18" charset="0"/>
                </a:rPr>
                <a:t>04</a:t>
              </a:r>
              <a:endParaRPr lang="zh-CN" altLang="en-US" sz="2800" dirty="0">
                <a:solidFill>
                  <a:srgbClr val="FFFFFF"/>
                </a:solidFill>
                <a:latin typeface="Arial Rounded MT Bold" panose="020F0704030504030204" pitchFamily="34" charset="0"/>
                <a:cs typeface="Times New Roman" panose="02020603050405020304" pitchFamily="18" charset="0"/>
              </a:endParaRPr>
            </a:p>
          </p:txBody>
        </p:sp>
      </p:grpSp>
      <p:grpSp>
        <p:nvGrpSpPr>
          <p:cNvPr id="20" name="组合 19"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GrpSpPr/>
          <p:nvPr/>
        </p:nvGrpSpPr>
        <p:grpSpPr>
          <a:xfrm>
            <a:off x="4269696" y="5128639"/>
            <a:ext cx="864880" cy="660219"/>
            <a:chOff x="4417179" y="5246626"/>
            <a:chExt cx="864880" cy="660219"/>
          </a:xfrm>
        </p:grpSpPr>
        <p:sp>
          <p:nvSpPr>
            <p:cNvPr id="21" name="椭圆 20"/>
            <p:cNvSpPr/>
            <p:nvPr/>
          </p:nvSpPr>
          <p:spPr>
            <a:xfrm>
              <a:off x="4546293" y="5246626"/>
              <a:ext cx="660219" cy="660219"/>
            </a:xfrm>
            <a:prstGeom prst="ellipse">
              <a:avLst/>
            </a:prstGeom>
            <a:solidFill>
              <a:schemeClr val="accent1">
                <a:lumMod val="50000"/>
              </a:schemeClr>
            </a:solidFill>
            <a:ln w="571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 lastClr="FFFFFF"/>
                </a:solidFill>
                <a:latin typeface="Calibri" panose="020F0502020204030204"/>
              </a:endParaRPr>
            </a:p>
          </p:txBody>
        </p:sp>
        <p:sp>
          <p:nvSpPr>
            <p:cNvPr id="22" name="TextBox 68"/>
            <p:cNvSpPr txBox="1"/>
            <p:nvPr/>
          </p:nvSpPr>
          <p:spPr>
            <a:xfrm flipH="1">
              <a:off x="4417179" y="5408343"/>
              <a:ext cx="864880" cy="387798"/>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algn="ctr">
                <a:defRPr/>
              </a:pPr>
              <a:r>
                <a:rPr lang="en-US" altLang="zh-CN" sz="2400" dirty="0">
                  <a:solidFill>
                    <a:srgbClr val="FFFFFF"/>
                  </a:solidFill>
                  <a:latin typeface="Arial Rounded MT Bold" panose="020F0704030504030204" pitchFamily="34" charset="0"/>
                  <a:cs typeface="Times New Roman" panose="02020603050405020304" pitchFamily="18" charset="0"/>
                </a:rPr>
                <a:t>05</a:t>
              </a:r>
              <a:endParaRPr lang="zh-CN" altLang="en-US" sz="2400" dirty="0">
                <a:solidFill>
                  <a:srgbClr val="FFFFFF"/>
                </a:solidFill>
                <a:latin typeface="Arial Rounded MT Bold" panose="020F0704030504030204" pitchFamily="34" charset="0"/>
                <a:cs typeface="Times New Roman" panose="02020603050405020304" pitchFamily="18" charset="0"/>
              </a:endParaRPr>
            </a:p>
          </p:txBody>
        </p:sp>
      </p:grpSp>
      <p:sp>
        <p:nvSpPr>
          <p:cNvPr id="23" name="TextBox 69"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SpPr txBox="1"/>
          <p:nvPr/>
        </p:nvSpPr>
        <p:spPr>
          <a:xfrm>
            <a:off x="792611" y="2088251"/>
            <a:ext cx="3047214" cy="523220"/>
          </a:xfrm>
          <a:prstGeom prst="rect">
            <a:avLst/>
          </a:prstGeom>
          <a:noFill/>
        </p:spPr>
        <p:txBody>
          <a:bodyPr wrap="square" rtlCol="0">
            <a:spAutoFit/>
          </a:bodyPr>
          <a:lstStyle/>
          <a:p>
            <a:r>
              <a:rPr lang="zh-CN" altLang="en-US" sz="1400" dirty="0">
                <a:solidFill>
                  <a:schemeClr val="bg1"/>
                </a:solidFill>
                <a:latin typeface="等线 Light" panose="02010600030101010101" pitchFamily="2" charset="-122"/>
                <a:ea typeface="等线 Light" panose="02010600030101010101" pitchFamily="2" charset="-122"/>
              </a:rPr>
              <a:t>这里输入您的主要叙述内容这里输入您的主要叙述内容</a:t>
            </a:r>
            <a:endParaRPr lang="en-US" altLang="zh-CN" sz="1400" dirty="0">
              <a:solidFill>
                <a:schemeClr val="bg1"/>
              </a:solidFill>
              <a:latin typeface="等线 Light" panose="02010600030101010101" pitchFamily="2" charset="-122"/>
              <a:ea typeface="等线 Light" panose="02010600030101010101" pitchFamily="2" charset="-122"/>
            </a:endParaRPr>
          </a:p>
        </p:txBody>
      </p:sp>
      <p:sp>
        <p:nvSpPr>
          <p:cNvPr id="24" name="TextBox 70"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SpPr txBox="1"/>
          <p:nvPr/>
        </p:nvSpPr>
        <p:spPr>
          <a:xfrm>
            <a:off x="329769" y="3795376"/>
            <a:ext cx="3047214" cy="523220"/>
          </a:xfrm>
          <a:prstGeom prst="rect">
            <a:avLst/>
          </a:prstGeom>
          <a:noFill/>
        </p:spPr>
        <p:txBody>
          <a:bodyPr wrap="square" rtlCol="0">
            <a:spAutoFit/>
          </a:bodyPr>
          <a:lstStyle/>
          <a:p>
            <a:r>
              <a:rPr lang="zh-CN" altLang="en-US" sz="1400" dirty="0">
                <a:solidFill>
                  <a:schemeClr val="bg1"/>
                </a:solidFill>
                <a:latin typeface="等线 Light" panose="02010600030101010101" pitchFamily="2" charset="-122"/>
                <a:ea typeface="等线 Light" panose="02010600030101010101" pitchFamily="2" charset="-122"/>
              </a:rPr>
              <a:t>这里输入您的主要叙述内容这里输入您的主要叙述内容</a:t>
            </a:r>
            <a:endParaRPr lang="en-US" altLang="zh-CN" sz="1400" dirty="0">
              <a:solidFill>
                <a:schemeClr val="bg1"/>
              </a:solidFill>
              <a:latin typeface="等线 Light" panose="02010600030101010101" pitchFamily="2" charset="-122"/>
              <a:ea typeface="等线 Light" panose="02010600030101010101" pitchFamily="2" charset="-122"/>
            </a:endParaRPr>
          </a:p>
        </p:txBody>
      </p:sp>
      <p:sp>
        <p:nvSpPr>
          <p:cNvPr id="25" name="TextBox 71"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SpPr txBox="1"/>
          <p:nvPr/>
        </p:nvSpPr>
        <p:spPr>
          <a:xfrm>
            <a:off x="1220800" y="5422834"/>
            <a:ext cx="3047214" cy="523220"/>
          </a:xfrm>
          <a:prstGeom prst="rect">
            <a:avLst/>
          </a:prstGeom>
          <a:noFill/>
        </p:spPr>
        <p:txBody>
          <a:bodyPr wrap="square" rtlCol="0">
            <a:spAutoFit/>
          </a:bodyPr>
          <a:lstStyle/>
          <a:p>
            <a:r>
              <a:rPr lang="zh-CN" altLang="en-US" sz="1400" dirty="0">
                <a:solidFill>
                  <a:schemeClr val="bg1"/>
                </a:solidFill>
                <a:latin typeface="等线 Light" panose="02010600030101010101" pitchFamily="2" charset="-122"/>
                <a:ea typeface="等线 Light" panose="02010600030101010101" pitchFamily="2" charset="-122"/>
              </a:rPr>
              <a:t>这里输入您的主要叙述内容这里输入您的主要叙述内容</a:t>
            </a:r>
            <a:endParaRPr lang="en-US" altLang="zh-CN" sz="1400" dirty="0">
              <a:solidFill>
                <a:schemeClr val="bg1"/>
              </a:solidFill>
              <a:latin typeface="等线 Light" panose="02010600030101010101" pitchFamily="2" charset="-122"/>
              <a:ea typeface="等线 Light" panose="02010600030101010101" pitchFamily="2" charset="-122"/>
            </a:endParaRPr>
          </a:p>
        </p:txBody>
      </p:sp>
      <p:sp>
        <p:nvSpPr>
          <p:cNvPr id="26" name="TextBox 72"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SpPr txBox="1"/>
          <p:nvPr/>
        </p:nvSpPr>
        <p:spPr>
          <a:xfrm>
            <a:off x="8807194" y="2280338"/>
            <a:ext cx="3047214" cy="523220"/>
          </a:xfrm>
          <a:prstGeom prst="rect">
            <a:avLst/>
          </a:prstGeom>
          <a:noFill/>
        </p:spPr>
        <p:txBody>
          <a:bodyPr wrap="square" rtlCol="0">
            <a:spAutoFit/>
          </a:bodyPr>
          <a:lstStyle/>
          <a:p>
            <a:r>
              <a:rPr lang="zh-CN" altLang="en-US" sz="1400" dirty="0">
                <a:solidFill>
                  <a:schemeClr val="bg1"/>
                </a:solidFill>
                <a:latin typeface="等线 Light" panose="02010600030101010101" pitchFamily="2" charset="-122"/>
                <a:ea typeface="等线 Light" panose="02010600030101010101" pitchFamily="2" charset="-122"/>
              </a:rPr>
              <a:t>这里输入您的主要叙述内容这里输入您的主要叙述内容</a:t>
            </a:r>
            <a:endParaRPr lang="en-US" altLang="zh-CN" sz="1400" dirty="0">
              <a:solidFill>
                <a:schemeClr val="bg1"/>
              </a:solidFill>
              <a:latin typeface="等线 Light" panose="02010600030101010101" pitchFamily="2" charset="-122"/>
              <a:ea typeface="等线 Light" panose="02010600030101010101" pitchFamily="2" charset="-122"/>
            </a:endParaRPr>
          </a:p>
        </p:txBody>
      </p:sp>
      <p:sp>
        <p:nvSpPr>
          <p:cNvPr id="27" name="TextBox 73"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SpPr txBox="1"/>
          <p:nvPr/>
        </p:nvSpPr>
        <p:spPr>
          <a:xfrm>
            <a:off x="7505365" y="4080034"/>
            <a:ext cx="2903653" cy="523220"/>
          </a:xfrm>
          <a:prstGeom prst="rect">
            <a:avLst/>
          </a:prstGeom>
          <a:noFill/>
        </p:spPr>
        <p:txBody>
          <a:bodyPr wrap="square" rtlCol="0">
            <a:spAutoFit/>
          </a:bodyPr>
          <a:lstStyle/>
          <a:p>
            <a:r>
              <a:rPr lang="zh-CN" altLang="en-US" sz="1400" dirty="0">
                <a:solidFill>
                  <a:schemeClr val="bg1"/>
                </a:solidFill>
                <a:latin typeface="等线 Light" panose="02010600030101010101" pitchFamily="2" charset="-122"/>
                <a:ea typeface="等线 Light" panose="02010600030101010101" pitchFamily="2" charset="-122"/>
              </a:rPr>
              <a:t>这里输入您的主要叙述内容这里输入您的主要叙述内容</a:t>
            </a:r>
            <a:endParaRPr lang="en-US" altLang="zh-CN" sz="1400" dirty="0">
              <a:solidFill>
                <a:schemeClr val="bg1"/>
              </a:solidFill>
              <a:latin typeface="等线 Light" panose="02010600030101010101" pitchFamily="2" charset="-122"/>
              <a:ea typeface="等线 Light" panose="02010600030101010101" pitchFamily="2" charset="-122"/>
            </a:endParaRPr>
          </a:p>
        </p:txBody>
      </p:sp>
      <p:sp>
        <p:nvSpPr>
          <p:cNvPr id="28" name="TextBox 74"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SpPr txBox="1"/>
          <p:nvPr/>
        </p:nvSpPr>
        <p:spPr>
          <a:xfrm>
            <a:off x="8887427" y="5595085"/>
            <a:ext cx="2835046" cy="523220"/>
          </a:xfrm>
          <a:prstGeom prst="rect">
            <a:avLst/>
          </a:prstGeom>
          <a:noFill/>
        </p:spPr>
        <p:txBody>
          <a:bodyPr wrap="square" rtlCol="0">
            <a:spAutoFit/>
          </a:bodyPr>
          <a:lstStyle/>
          <a:p>
            <a:r>
              <a:rPr lang="zh-CN" altLang="en-US" sz="1400" dirty="0">
                <a:solidFill>
                  <a:schemeClr val="bg1"/>
                </a:solidFill>
                <a:latin typeface="等线 Light" panose="02010600030101010101" pitchFamily="2" charset="-122"/>
                <a:ea typeface="等线 Light" panose="02010600030101010101" pitchFamily="2" charset="-122"/>
              </a:rPr>
              <a:t>这里输入您的主要叙述内容这里输入您的主要叙述内容</a:t>
            </a:r>
            <a:endParaRPr lang="en-US" altLang="zh-CN" sz="1400" dirty="0">
              <a:solidFill>
                <a:schemeClr val="bg1"/>
              </a:solidFill>
              <a:latin typeface="等线 Light" panose="02010600030101010101" pitchFamily="2" charset="-122"/>
              <a:ea typeface="等线 Light" panose="02010600030101010101" pitchFamily="2" charset="-122"/>
            </a:endParaRPr>
          </a:p>
        </p:txBody>
      </p:sp>
      <p:grpSp>
        <p:nvGrpSpPr>
          <p:cNvPr id="29" name="组合 28" descr="e7d195523061f1c0deeec63e560781cfd59afb0ea006f2a87ABB68BF51EA6619813959095094C18C62A12F549504892A4AAA8C1554C6663626E05CA27F281A14E6983772AFC3FB97135759321DEA3D705820548C6D5B558C0521F46394056E5E035604ECCCC00DD78A9AA804791388603F96FBF43657DF4FEF4AB50DB393992D580251FD0C6390BB9C5839827A14A338"/>
          <p:cNvGrpSpPr/>
          <p:nvPr/>
        </p:nvGrpSpPr>
        <p:grpSpPr>
          <a:xfrm>
            <a:off x="3732941" y="1963560"/>
            <a:ext cx="873986" cy="660219"/>
            <a:chOff x="3880424" y="2081547"/>
            <a:chExt cx="873986" cy="660219"/>
          </a:xfrm>
        </p:grpSpPr>
        <p:sp>
          <p:nvSpPr>
            <p:cNvPr id="30" name="椭圆 29"/>
            <p:cNvSpPr/>
            <p:nvPr/>
          </p:nvSpPr>
          <p:spPr>
            <a:xfrm>
              <a:off x="3987308" y="2081547"/>
              <a:ext cx="660219" cy="660219"/>
            </a:xfrm>
            <a:prstGeom prst="ellipse">
              <a:avLst/>
            </a:prstGeom>
            <a:solidFill>
              <a:schemeClr val="accent1">
                <a:lumMod val="50000"/>
              </a:schemeClr>
            </a:solidFill>
            <a:ln w="571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 lastClr="FFFFFF"/>
                </a:solidFill>
                <a:latin typeface="Calibri" panose="020F0502020204030204"/>
              </a:endParaRPr>
            </a:p>
          </p:txBody>
        </p:sp>
        <p:sp>
          <p:nvSpPr>
            <p:cNvPr id="31" name="TextBox 63"/>
            <p:cNvSpPr txBox="1"/>
            <p:nvPr/>
          </p:nvSpPr>
          <p:spPr>
            <a:xfrm flipH="1">
              <a:off x="3880424" y="2222892"/>
              <a:ext cx="873986" cy="437043"/>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charset="-122"/>
                </a:defRPr>
              </a:lvl1pPr>
            </a:lstStyle>
            <a:p>
              <a:pPr algn="ctr">
                <a:defRPr/>
              </a:pPr>
              <a:r>
                <a:rPr lang="en-US" altLang="zh-CN" sz="2800" dirty="0">
                  <a:solidFill>
                    <a:srgbClr val="FFFFFF"/>
                  </a:solidFill>
                  <a:latin typeface="Arial Rounded MT Bold" panose="020F0704030504030204" pitchFamily="34" charset="0"/>
                  <a:cs typeface="Times New Roman" panose="02020603050405020304" pitchFamily="18" charset="0"/>
                </a:rPr>
                <a:t>01</a:t>
              </a:r>
              <a:endParaRPr lang="zh-CN" altLang="en-US" sz="2800" dirty="0">
                <a:solidFill>
                  <a:srgbClr val="FFFFFF"/>
                </a:solidFill>
                <a:latin typeface="Arial Rounded MT Bold" panose="020F0704030504030204" pitchFamily="34" charset="0"/>
                <a:cs typeface="Times New Roman" panose="02020603050405020304" pitchFamily="18" charset="0"/>
              </a:endParaRPr>
            </a:p>
          </p:txBody>
        </p:sp>
      </p:grpSp>
      <p:sp>
        <p:nvSpPr>
          <p:cNvPr id="32"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33"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6" name="音频 3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3915409987"/>
      </p:ext>
    </p:extLst>
  </p:cSld>
  <p:clrMapOvr>
    <a:masterClrMapping/>
  </p:clrMapOvr>
  <mc:AlternateContent xmlns:mc="http://schemas.openxmlformats.org/markup-compatibility/2006" xmlns:p14="http://schemas.microsoft.com/office/powerpoint/2010/main">
    <mc:Choice Requires="p14">
      <p:transition spd="slow" p14:dur="1200" advTm="1270">
        <p:dissolve/>
      </p:transition>
    </mc:Choice>
    <mc:Fallback xmlns="">
      <p:transition spd="slow" advTm="127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6"/>
                                        </p:tgtEl>
                                      </p:cBhvr>
                                    </p:cmd>
                                  </p:childTnLst>
                                </p:cTn>
                              </p:par>
                              <p:par>
                                <p:cTn id="7" presetID="23" presetClass="entr" presetSubtype="32" fill="hold" nodeType="withEffect">
                                  <p:stCondLst>
                                    <p:cond delay="0"/>
                                  </p:stCondLst>
                                  <p:childTnLst>
                                    <p:set>
                                      <p:cBhvr>
                                        <p:cTn id="8" dur="1" fill="hold">
                                          <p:stCondLst>
                                            <p:cond delay="0"/>
                                          </p:stCondLst>
                                        </p:cTn>
                                        <p:tgtEl>
                                          <p:spTgt spid="29"/>
                                        </p:tgtEl>
                                        <p:attrNameLst>
                                          <p:attrName>style.visibility</p:attrName>
                                        </p:attrNameLst>
                                      </p:cBhvr>
                                      <p:to>
                                        <p:strVal val="visible"/>
                                      </p:to>
                                    </p:set>
                                    <p:anim calcmode="lin" valueType="num">
                                      <p:cBhvr>
                                        <p:cTn id="9" dur="750" fill="hold"/>
                                        <p:tgtEl>
                                          <p:spTgt spid="29"/>
                                        </p:tgtEl>
                                        <p:attrNameLst>
                                          <p:attrName>ppt_w</p:attrName>
                                        </p:attrNameLst>
                                      </p:cBhvr>
                                      <p:tavLst>
                                        <p:tav tm="0">
                                          <p:val>
                                            <p:strVal val="4*#ppt_w"/>
                                          </p:val>
                                        </p:tav>
                                        <p:tav tm="100000">
                                          <p:val>
                                            <p:strVal val="#ppt_w"/>
                                          </p:val>
                                        </p:tav>
                                      </p:tavLst>
                                    </p:anim>
                                    <p:anim calcmode="lin" valueType="num">
                                      <p:cBhvr>
                                        <p:cTn id="10" dur="750" fill="hold"/>
                                        <p:tgtEl>
                                          <p:spTgt spid="29"/>
                                        </p:tgtEl>
                                        <p:attrNameLst>
                                          <p:attrName>ppt_h</p:attrName>
                                        </p:attrNameLst>
                                      </p:cBhvr>
                                      <p:tavLst>
                                        <p:tav tm="0">
                                          <p:val>
                                            <p:strVal val="4*#ppt_h"/>
                                          </p:val>
                                        </p:tav>
                                        <p:tav tm="100000">
                                          <p:val>
                                            <p:strVal val="#ppt_h"/>
                                          </p:val>
                                        </p:tav>
                                      </p:tavLst>
                                    </p:anim>
                                  </p:childTnLst>
                                </p:cTn>
                              </p:par>
                              <p:par>
                                <p:cTn id="11" presetID="23" presetClass="entr" presetSubtype="32" fill="hold" nodeType="withEffect">
                                  <p:stCondLst>
                                    <p:cond delay="250"/>
                                  </p:stCondLst>
                                  <p:childTnLst>
                                    <p:set>
                                      <p:cBhvr>
                                        <p:cTn id="12" dur="1" fill="hold">
                                          <p:stCondLst>
                                            <p:cond delay="0"/>
                                          </p:stCondLst>
                                        </p:cTn>
                                        <p:tgtEl>
                                          <p:spTgt spid="11"/>
                                        </p:tgtEl>
                                        <p:attrNameLst>
                                          <p:attrName>style.visibility</p:attrName>
                                        </p:attrNameLst>
                                      </p:cBhvr>
                                      <p:to>
                                        <p:strVal val="visible"/>
                                      </p:to>
                                    </p:set>
                                    <p:anim calcmode="lin" valueType="num">
                                      <p:cBhvr>
                                        <p:cTn id="13" dur="750" fill="hold"/>
                                        <p:tgtEl>
                                          <p:spTgt spid="11"/>
                                        </p:tgtEl>
                                        <p:attrNameLst>
                                          <p:attrName>ppt_w</p:attrName>
                                        </p:attrNameLst>
                                      </p:cBhvr>
                                      <p:tavLst>
                                        <p:tav tm="0">
                                          <p:val>
                                            <p:strVal val="4*#ppt_w"/>
                                          </p:val>
                                        </p:tav>
                                        <p:tav tm="100000">
                                          <p:val>
                                            <p:strVal val="#ppt_w"/>
                                          </p:val>
                                        </p:tav>
                                      </p:tavLst>
                                    </p:anim>
                                    <p:anim calcmode="lin" valueType="num">
                                      <p:cBhvr>
                                        <p:cTn id="14" dur="750" fill="hold"/>
                                        <p:tgtEl>
                                          <p:spTgt spid="11"/>
                                        </p:tgtEl>
                                        <p:attrNameLst>
                                          <p:attrName>ppt_h</p:attrName>
                                        </p:attrNameLst>
                                      </p:cBhvr>
                                      <p:tavLst>
                                        <p:tav tm="0">
                                          <p:val>
                                            <p:strVal val="4*#ppt_h"/>
                                          </p:val>
                                        </p:tav>
                                        <p:tav tm="100000">
                                          <p:val>
                                            <p:strVal val="#ppt_h"/>
                                          </p:val>
                                        </p:tav>
                                      </p:tavLst>
                                    </p:anim>
                                  </p:childTnLst>
                                </p:cTn>
                              </p:par>
                              <p:par>
                                <p:cTn id="15" presetID="23" presetClass="entr" presetSubtype="32" fill="hold" nodeType="withEffect">
                                  <p:stCondLst>
                                    <p:cond delay="500"/>
                                  </p:stCondLst>
                                  <p:childTnLst>
                                    <p:set>
                                      <p:cBhvr>
                                        <p:cTn id="16" dur="1" fill="hold">
                                          <p:stCondLst>
                                            <p:cond delay="0"/>
                                          </p:stCondLst>
                                        </p:cTn>
                                        <p:tgtEl>
                                          <p:spTgt spid="8"/>
                                        </p:tgtEl>
                                        <p:attrNameLst>
                                          <p:attrName>style.visibility</p:attrName>
                                        </p:attrNameLst>
                                      </p:cBhvr>
                                      <p:to>
                                        <p:strVal val="visible"/>
                                      </p:to>
                                    </p:set>
                                    <p:anim calcmode="lin" valueType="num">
                                      <p:cBhvr>
                                        <p:cTn id="17" dur="750" fill="hold"/>
                                        <p:tgtEl>
                                          <p:spTgt spid="8"/>
                                        </p:tgtEl>
                                        <p:attrNameLst>
                                          <p:attrName>ppt_w</p:attrName>
                                        </p:attrNameLst>
                                      </p:cBhvr>
                                      <p:tavLst>
                                        <p:tav tm="0">
                                          <p:val>
                                            <p:strVal val="4*#ppt_w"/>
                                          </p:val>
                                        </p:tav>
                                        <p:tav tm="100000">
                                          <p:val>
                                            <p:strVal val="#ppt_w"/>
                                          </p:val>
                                        </p:tav>
                                      </p:tavLst>
                                    </p:anim>
                                    <p:anim calcmode="lin" valueType="num">
                                      <p:cBhvr>
                                        <p:cTn id="18" dur="750" fill="hold"/>
                                        <p:tgtEl>
                                          <p:spTgt spid="8"/>
                                        </p:tgtEl>
                                        <p:attrNameLst>
                                          <p:attrName>ppt_h</p:attrName>
                                        </p:attrNameLst>
                                      </p:cBhvr>
                                      <p:tavLst>
                                        <p:tav tm="0">
                                          <p:val>
                                            <p:strVal val="4*#ppt_h"/>
                                          </p:val>
                                        </p:tav>
                                        <p:tav tm="100000">
                                          <p:val>
                                            <p:strVal val="#ppt_h"/>
                                          </p:val>
                                        </p:tav>
                                      </p:tavLst>
                                    </p:anim>
                                  </p:childTnLst>
                                </p:cTn>
                              </p:par>
                              <p:par>
                                <p:cTn id="19" presetID="23" presetClass="entr" presetSubtype="32" fill="hold" nodeType="withEffect">
                                  <p:stCondLst>
                                    <p:cond delay="750"/>
                                  </p:stCondLst>
                                  <p:childTnLst>
                                    <p:set>
                                      <p:cBhvr>
                                        <p:cTn id="20" dur="1" fill="hold">
                                          <p:stCondLst>
                                            <p:cond delay="0"/>
                                          </p:stCondLst>
                                        </p:cTn>
                                        <p:tgtEl>
                                          <p:spTgt spid="17"/>
                                        </p:tgtEl>
                                        <p:attrNameLst>
                                          <p:attrName>style.visibility</p:attrName>
                                        </p:attrNameLst>
                                      </p:cBhvr>
                                      <p:to>
                                        <p:strVal val="visible"/>
                                      </p:to>
                                    </p:set>
                                    <p:anim calcmode="lin" valueType="num">
                                      <p:cBhvr>
                                        <p:cTn id="21" dur="750" fill="hold"/>
                                        <p:tgtEl>
                                          <p:spTgt spid="17"/>
                                        </p:tgtEl>
                                        <p:attrNameLst>
                                          <p:attrName>ppt_w</p:attrName>
                                        </p:attrNameLst>
                                      </p:cBhvr>
                                      <p:tavLst>
                                        <p:tav tm="0">
                                          <p:val>
                                            <p:strVal val="4*#ppt_w"/>
                                          </p:val>
                                        </p:tav>
                                        <p:tav tm="100000">
                                          <p:val>
                                            <p:strVal val="#ppt_w"/>
                                          </p:val>
                                        </p:tav>
                                      </p:tavLst>
                                    </p:anim>
                                    <p:anim calcmode="lin" valueType="num">
                                      <p:cBhvr>
                                        <p:cTn id="22" dur="750" fill="hold"/>
                                        <p:tgtEl>
                                          <p:spTgt spid="17"/>
                                        </p:tgtEl>
                                        <p:attrNameLst>
                                          <p:attrName>ppt_h</p:attrName>
                                        </p:attrNameLst>
                                      </p:cBhvr>
                                      <p:tavLst>
                                        <p:tav tm="0">
                                          <p:val>
                                            <p:strVal val="4*#ppt_h"/>
                                          </p:val>
                                        </p:tav>
                                        <p:tav tm="100000">
                                          <p:val>
                                            <p:strVal val="#ppt_h"/>
                                          </p:val>
                                        </p:tav>
                                      </p:tavLst>
                                    </p:anim>
                                  </p:childTnLst>
                                </p:cTn>
                              </p:par>
                              <p:par>
                                <p:cTn id="23" presetID="23" presetClass="entr" presetSubtype="32" fill="hold" nodeType="withEffect">
                                  <p:stCondLst>
                                    <p:cond delay="1000"/>
                                  </p:stCondLst>
                                  <p:childTnLst>
                                    <p:set>
                                      <p:cBhvr>
                                        <p:cTn id="24" dur="1" fill="hold">
                                          <p:stCondLst>
                                            <p:cond delay="0"/>
                                          </p:stCondLst>
                                        </p:cTn>
                                        <p:tgtEl>
                                          <p:spTgt spid="20"/>
                                        </p:tgtEl>
                                        <p:attrNameLst>
                                          <p:attrName>style.visibility</p:attrName>
                                        </p:attrNameLst>
                                      </p:cBhvr>
                                      <p:to>
                                        <p:strVal val="visible"/>
                                      </p:to>
                                    </p:set>
                                    <p:anim calcmode="lin" valueType="num">
                                      <p:cBhvr>
                                        <p:cTn id="25" dur="750" fill="hold"/>
                                        <p:tgtEl>
                                          <p:spTgt spid="20"/>
                                        </p:tgtEl>
                                        <p:attrNameLst>
                                          <p:attrName>ppt_w</p:attrName>
                                        </p:attrNameLst>
                                      </p:cBhvr>
                                      <p:tavLst>
                                        <p:tav tm="0">
                                          <p:val>
                                            <p:strVal val="4*#ppt_w"/>
                                          </p:val>
                                        </p:tav>
                                        <p:tav tm="100000">
                                          <p:val>
                                            <p:strVal val="#ppt_w"/>
                                          </p:val>
                                        </p:tav>
                                      </p:tavLst>
                                    </p:anim>
                                    <p:anim calcmode="lin" valueType="num">
                                      <p:cBhvr>
                                        <p:cTn id="26" dur="750" fill="hold"/>
                                        <p:tgtEl>
                                          <p:spTgt spid="20"/>
                                        </p:tgtEl>
                                        <p:attrNameLst>
                                          <p:attrName>ppt_h</p:attrName>
                                        </p:attrNameLst>
                                      </p:cBhvr>
                                      <p:tavLst>
                                        <p:tav tm="0">
                                          <p:val>
                                            <p:strVal val="4*#ppt_h"/>
                                          </p:val>
                                        </p:tav>
                                        <p:tav tm="100000">
                                          <p:val>
                                            <p:strVal val="#ppt_h"/>
                                          </p:val>
                                        </p:tav>
                                      </p:tavLst>
                                    </p:anim>
                                  </p:childTnLst>
                                </p:cTn>
                              </p:par>
                              <p:par>
                                <p:cTn id="27" presetID="23" presetClass="entr" presetSubtype="32" fill="hold" nodeType="withEffect">
                                  <p:stCondLst>
                                    <p:cond delay="1250"/>
                                  </p:stCondLst>
                                  <p:childTnLst>
                                    <p:set>
                                      <p:cBhvr>
                                        <p:cTn id="28" dur="1" fill="hold">
                                          <p:stCondLst>
                                            <p:cond delay="0"/>
                                          </p:stCondLst>
                                        </p:cTn>
                                        <p:tgtEl>
                                          <p:spTgt spid="14"/>
                                        </p:tgtEl>
                                        <p:attrNameLst>
                                          <p:attrName>style.visibility</p:attrName>
                                        </p:attrNameLst>
                                      </p:cBhvr>
                                      <p:to>
                                        <p:strVal val="visible"/>
                                      </p:to>
                                    </p:set>
                                    <p:anim calcmode="lin" valueType="num">
                                      <p:cBhvr>
                                        <p:cTn id="29" dur="750" fill="hold"/>
                                        <p:tgtEl>
                                          <p:spTgt spid="14"/>
                                        </p:tgtEl>
                                        <p:attrNameLst>
                                          <p:attrName>ppt_w</p:attrName>
                                        </p:attrNameLst>
                                      </p:cBhvr>
                                      <p:tavLst>
                                        <p:tav tm="0">
                                          <p:val>
                                            <p:strVal val="4*#ppt_w"/>
                                          </p:val>
                                        </p:tav>
                                        <p:tav tm="100000">
                                          <p:val>
                                            <p:strVal val="#ppt_w"/>
                                          </p:val>
                                        </p:tav>
                                      </p:tavLst>
                                    </p:anim>
                                    <p:anim calcmode="lin" valueType="num">
                                      <p:cBhvr>
                                        <p:cTn id="30" dur="750" fill="hold"/>
                                        <p:tgtEl>
                                          <p:spTgt spid="14"/>
                                        </p:tgtEl>
                                        <p:attrNameLst>
                                          <p:attrName>ppt_h</p:attrName>
                                        </p:attrNameLst>
                                      </p:cBhvr>
                                      <p:tavLst>
                                        <p:tav tm="0">
                                          <p:val>
                                            <p:strVal val="4*#ppt_h"/>
                                          </p:val>
                                        </p:tav>
                                        <p:tav tm="100000">
                                          <p:val>
                                            <p:strVal val="#ppt_h"/>
                                          </p:val>
                                        </p:tav>
                                      </p:tavLst>
                                    </p:anim>
                                  </p:childTnLst>
                                </p:cTn>
                              </p:par>
                            </p:childTnLst>
                          </p:cTn>
                        </p:par>
                        <p:par>
                          <p:cTn id="31" fill="hold">
                            <p:stCondLst>
                              <p:cond delay="2000"/>
                            </p:stCondLst>
                            <p:childTnLst>
                              <p:par>
                                <p:cTn id="32" presetID="22" presetClass="entr" presetSubtype="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wipe(up)">
                                      <p:cBhvr>
                                        <p:cTn id="34" dur="500"/>
                                        <p:tgtEl>
                                          <p:spTgt spid="2"/>
                                        </p:tgtEl>
                                      </p:cBhvr>
                                    </p:animEffect>
                                  </p:childTnLst>
                                </p:cTn>
                              </p:par>
                            </p:childTnLst>
                          </p:cTn>
                        </p:par>
                        <p:par>
                          <p:cTn id="35" fill="hold">
                            <p:stCondLst>
                              <p:cond delay="2500"/>
                            </p:stCondLst>
                            <p:childTnLst>
                              <p:par>
                                <p:cTn id="36" presetID="10" presetClass="entr" presetSubtype="0" fill="hold" grpId="0"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par>
                                <p:cTn id="42" presetID="10" presetClass="entr" presetSubtype="0" fill="hold" grpId="0" nodeType="withEffect">
                                  <p:stCondLst>
                                    <p:cond delay="5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75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10" presetClass="entr" presetSubtype="0" fill="hold" grpId="0" nodeType="withEffect">
                                  <p:stCondLst>
                                    <p:cond delay="100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grpId="0" nodeType="withEffect">
                                  <p:stCondLst>
                                    <p:cond delay="1250"/>
                                  </p:stCondLst>
                                  <p:childTnLst>
                                    <p:set>
                                      <p:cBhvr>
                                        <p:cTn id="52" dur="1" fill="hold">
                                          <p:stCondLst>
                                            <p:cond delay="0"/>
                                          </p:stCondLst>
                                        </p:cTn>
                                        <p:tgtEl>
                                          <p:spTgt spid="28"/>
                                        </p:tgtEl>
                                        <p:attrNameLst>
                                          <p:attrName>style.visibility</p:attrName>
                                        </p:attrNameLst>
                                      </p:cBhvr>
                                      <p:to>
                                        <p:strVal val="visible"/>
                                      </p:to>
                                    </p:set>
                                    <p:animEffect transition="in" filter="fade">
                                      <p:cBhvr>
                                        <p:cTn id="5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4" fill="hold" display="0">
                  <p:stCondLst>
                    <p:cond delay="indefinite"/>
                  </p:stCondLst>
                  <p:endCondLst>
                    <p:cond evt="onStopAudio" delay="0">
                      <p:tgtEl>
                        <p:sldTgt/>
                      </p:tgtEl>
                    </p:cond>
                  </p:endCondLst>
                </p:cTn>
                <p:tgtEl>
                  <p:spTgt spid="36"/>
                </p:tgtEl>
              </p:cMediaNode>
            </p:audio>
          </p:childTnLst>
        </p:cTn>
      </p:par>
    </p:tnLst>
    <p:bldLst>
      <p:bldP spid="23" grpId="0"/>
      <p:bldP spid="24" grpId="0"/>
      <p:bldP spid="25" grpId="0"/>
      <p:bldP spid="26" grpId="0"/>
      <p:bldP spid="27" grpId="0"/>
      <p:bldP spid="28"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6" name="矩形 13"/>
          <p:cNvSpPr>
            <a:spLocks noChangeArrowheads="1"/>
          </p:cNvSpPr>
          <p:nvPr/>
        </p:nvSpPr>
        <p:spPr bwMode="auto">
          <a:xfrm>
            <a:off x="2098231" y="2722793"/>
            <a:ext cx="769167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84213">
              <a:defRPr>
                <a:solidFill>
                  <a:schemeClr val="tx1"/>
                </a:solidFill>
                <a:latin typeface="Calibri" panose="020F0502020204030204" pitchFamily="34" charset="0"/>
                <a:ea typeface="宋体" panose="02010600030101010101" pitchFamily="2" charset="-122"/>
              </a:defRPr>
            </a:lvl1pPr>
            <a:lvl2pPr defTabSz="684213">
              <a:defRPr>
                <a:solidFill>
                  <a:schemeClr val="tx1"/>
                </a:solidFill>
                <a:latin typeface="Calibri" panose="020F0502020204030204" pitchFamily="34" charset="0"/>
                <a:ea typeface="宋体" panose="02010600030101010101" pitchFamily="2" charset="-122"/>
              </a:defRPr>
            </a:lvl2pPr>
            <a:lvl3pPr defTabSz="684213">
              <a:defRPr>
                <a:solidFill>
                  <a:schemeClr val="tx1"/>
                </a:solidFill>
                <a:latin typeface="Calibri" panose="020F0502020204030204" pitchFamily="34" charset="0"/>
                <a:ea typeface="宋体" panose="02010600030101010101" pitchFamily="2" charset="-122"/>
              </a:defRPr>
            </a:lvl3pPr>
            <a:lvl4pPr defTabSz="684213">
              <a:defRPr>
                <a:solidFill>
                  <a:schemeClr val="tx1"/>
                </a:solidFill>
                <a:latin typeface="Calibri" panose="020F0502020204030204" pitchFamily="34" charset="0"/>
                <a:ea typeface="宋体" panose="02010600030101010101" pitchFamily="2" charset="-122"/>
              </a:defRPr>
            </a:lvl4pPr>
            <a:lvl5pPr defTabSz="684213">
              <a:defRPr>
                <a:solidFill>
                  <a:schemeClr val="tx1"/>
                </a:solidFill>
                <a:latin typeface="Calibri" panose="020F0502020204030204" pitchFamily="34" charset="0"/>
                <a:ea typeface="宋体" panose="02010600030101010101" pitchFamily="2" charset="-122"/>
              </a:defRPr>
            </a:lvl5pPr>
            <a:lvl6pPr marL="2284413" indent="1588" defTabSz="684213"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741613" indent="1588" defTabSz="684213"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198813" indent="1588" defTabSz="684213"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656013" indent="1588" defTabSz="684213"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defRPr/>
            </a:pPr>
            <a:r>
              <a:rPr lang="zh-CN" altLang="en-US" sz="1000" noProof="1">
                <a:solidFill>
                  <a:schemeClr val="bg1"/>
                </a:solidFill>
                <a:latin typeface="等线 Light" panose="02010600030101010101" pitchFamily="2" charset="-122"/>
                <a:ea typeface="等线 Light" panose="02010600030101010101" pitchFamily="2" charset="-122"/>
              </a:rPr>
              <a:t>根据分类输入内容根据分类输入内容根据分类输入内容根据分类输入内容</a:t>
            </a:r>
            <a:endParaRPr lang="en-US" altLang="zh-CN" sz="1000" noProof="1">
              <a:solidFill>
                <a:schemeClr val="bg1"/>
              </a:solidFill>
              <a:latin typeface="等线 Light" panose="02010600030101010101" pitchFamily="2" charset="-122"/>
              <a:ea typeface="等线 Light" panose="02010600030101010101" pitchFamily="2" charset="-122"/>
            </a:endParaRPr>
          </a:p>
          <a:p>
            <a:pPr algn="ctr">
              <a:defRPr/>
            </a:pPr>
            <a:r>
              <a:rPr lang="zh-CN" altLang="en-US" sz="1000" noProof="1">
                <a:solidFill>
                  <a:schemeClr val="bg1"/>
                </a:solidFill>
                <a:latin typeface="等线 Light" panose="02010600030101010101" pitchFamily="2" charset="-122"/>
                <a:ea typeface="等线 Light" panose="02010600030101010101" pitchFamily="2" charset="-122"/>
              </a:rPr>
              <a:t>根据分类输入内容根据分类输入内容根据分类输入内容根据分类输入内容</a:t>
            </a:r>
            <a:endParaRPr lang="en-US" altLang="zh-CN" sz="1000" noProof="1">
              <a:solidFill>
                <a:schemeClr val="bg1"/>
              </a:solidFill>
              <a:latin typeface="等线 Light" panose="02010600030101010101" pitchFamily="2" charset="-122"/>
              <a:ea typeface="等线 Light" panose="02010600030101010101" pitchFamily="2" charset="-122"/>
            </a:endParaRPr>
          </a:p>
          <a:p>
            <a:pPr algn="ctr">
              <a:defRPr/>
            </a:pPr>
            <a:endParaRPr lang="en-US" altLang="zh-CN" sz="1000" noProof="1">
              <a:solidFill>
                <a:schemeClr val="tx1">
                  <a:lumMod val="75000"/>
                  <a:lumOff val="25000"/>
                </a:schemeClr>
              </a:solidFill>
              <a:latin typeface="幼圆" panose="02010509060101010101" pitchFamily="49" charset="-122"/>
              <a:ea typeface="幼圆" panose="02010509060101010101" pitchFamily="49" charset="-122"/>
            </a:endParaRPr>
          </a:p>
        </p:txBody>
      </p:sp>
      <p:sp>
        <p:nvSpPr>
          <p:cNvPr id="37" name="文本框 67"/>
          <p:cNvSpPr txBox="1">
            <a:spLocks noChangeArrowheads="1"/>
          </p:cNvSpPr>
          <p:nvPr/>
        </p:nvSpPr>
        <p:spPr bwMode="auto">
          <a:xfrm>
            <a:off x="5129553" y="2148331"/>
            <a:ext cx="1588726" cy="40011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marL="22844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7416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1988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6560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defRPr/>
            </a:pPr>
            <a:r>
              <a:rPr lang="zh-CN" altLang="en-US" sz="2000" dirty="0">
                <a:solidFill>
                  <a:schemeClr val="bg1"/>
                </a:solidFill>
                <a:latin typeface="等线 Light" panose="02010600030101010101" pitchFamily="2" charset="-122"/>
                <a:ea typeface="等线 Light" panose="02010600030101010101" pitchFamily="2" charset="-122"/>
                <a:sym typeface="Arial" panose="020B0604020202020204" pitchFamily="34" charset="0"/>
              </a:rPr>
              <a:t>添加标题</a:t>
            </a:r>
            <a:endParaRPr lang="zh-CN" altLang="en-US" sz="2000" dirty="0">
              <a:solidFill>
                <a:schemeClr val="bg1"/>
              </a:solidFill>
              <a:latin typeface="等线 Light" panose="02010600030101010101" pitchFamily="2" charset="-122"/>
              <a:ea typeface="等线 Light" panose="02010600030101010101" pitchFamily="2" charset="-122"/>
            </a:endParaRPr>
          </a:p>
        </p:txBody>
      </p:sp>
      <p:sp>
        <p:nvSpPr>
          <p:cNvPr id="42" name="同心圆 73"/>
          <p:cNvSpPr>
            <a:spLocks noChangeArrowheads="1"/>
          </p:cNvSpPr>
          <p:nvPr/>
        </p:nvSpPr>
        <p:spPr bwMode="auto">
          <a:xfrm>
            <a:off x="1703354" y="3426084"/>
            <a:ext cx="2280019" cy="2282101"/>
          </a:xfrm>
          <a:custGeom>
            <a:avLst/>
            <a:gdLst>
              <a:gd name="T0" fmla="*/ 0 w 1739611"/>
              <a:gd name="T1" fmla="*/ 869806 h 1739611"/>
              <a:gd name="T2" fmla="*/ 869806 w 1739611"/>
              <a:gd name="T3" fmla="*/ 0 h 1739611"/>
              <a:gd name="T4" fmla="*/ 1739612 w 1739611"/>
              <a:gd name="T5" fmla="*/ 869806 h 1739611"/>
              <a:gd name="T6" fmla="*/ 869806 w 1739611"/>
              <a:gd name="T7" fmla="*/ 1739612 h 1739611"/>
              <a:gd name="T8" fmla="*/ 0 w 1739611"/>
              <a:gd name="T9" fmla="*/ 869806 h 1739611"/>
              <a:gd name="T10" fmla="*/ 314574 w 1739611"/>
              <a:gd name="T11" fmla="*/ 869806 h 1739611"/>
              <a:gd name="T12" fmla="*/ 869806 w 1739611"/>
              <a:gd name="T13" fmla="*/ 1425038 h 1739611"/>
              <a:gd name="T14" fmla="*/ 1425038 w 1739611"/>
              <a:gd name="T15" fmla="*/ 869806 h 1739611"/>
              <a:gd name="T16" fmla="*/ 869806 w 1739611"/>
              <a:gd name="T17" fmla="*/ 314574 h 1739611"/>
              <a:gd name="T18" fmla="*/ 314574 w 1739611"/>
              <a:gd name="T19" fmla="*/ 869806 h 1739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9611" h="1739611">
                <a:moveTo>
                  <a:pt x="0" y="869806"/>
                </a:moveTo>
                <a:cubicBezTo>
                  <a:pt x="0" y="389425"/>
                  <a:pt x="389425" y="0"/>
                  <a:pt x="869806" y="0"/>
                </a:cubicBezTo>
                <a:cubicBezTo>
                  <a:pt x="1350187" y="0"/>
                  <a:pt x="1739612" y="389425"/>
                  <a:pt x="1739612" y="869806"/>
                </a:cubicBezTo>
                <a:cubicBezTo>
                  <a:pt x="1739612" y="1350187"/>
                  <a:pt x="1350187" y="1739612"/>
                  <a:pt x="869806" y="1739612"/>
                </a:cubicBezTo>
                <a:cubicBezTo>
                  <a:pt x="389425" y="1739612"/>
                  <a:pt x="0" y="1350187"/>
                  <a:pt x="0" y="869806"/>
                </a:cubicBezTo>
                <a:close/>
                <a:moveTo>
                  <a:pt x="314574" y="869806"/>
                </a:moveTo>
                <a:cubicBezTo>
                  <a:pt x="314574" y="1176452"/>
                  <a:pt x="563160" y="1425038"/>
                  <a:pt x="869806" y="1425038"/>
                </a:cubicBezTo>
                <a:cubicBezTo>
                  <a:pt x="1176452" y="1425038"/>
                  <a:pt x="1425038" y="1176452"/>
                  <a:pt x="1425038" y="869806"/>
                </a:cubicBezTo>
                <a:cubicBezTo>
                  <a:pt x="1425038" y="563160"/>
                  <a:pt x="1176452" y="314574"/>
                  <a:pt x="869806" y="314574"/>
                </a:cubicBezTo>
                <a:cubicBezTo>
                  <a:pt x="563160" y="314574"/>
                  <a:pt x="314574" y="563160"/>
                  <a:pt x="314574" y="869806"/>
                </a:cubicBezTo>
                <a:close/>
              </a:path>
            </a:pathLst>
          </a:custGeom>
          <a:solidFill>
            <a:schemeClr val="accent1">
              <a:lumMod val="50000"/>
            </a:schemeClr>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marL="22844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7416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1988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6560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buFont typeface="Arial" panose="020B0604020202020204" pitchFamily="34" charset="0"/>
              <a:buNone/>
              <a:defRPr/>
            </a:pPr>
            <a:endParaRPr lang="zh-CN" altLang="en-US" dirty="0"/>
          </a:p>
        </p:txBody>
      </p:sp>
      <p:sp>
        <p:nvSpPr>
          <p:cNvPr id="43" name="同心圆 74"/>
          <p:cNvSpPr>
            <a:spLocks noChangeArrowheads="1"/>
          </p:cNvSpPr>
          <p:nvPr/>
        </p:nvSpPr>
        <p:spPr bwMode="auto">
          <a:xfrm>
            <a:off x="4908651" y="3423534"/>
            <a:ext cx="2282101" cy="2282101"/>
          </a:xfrm>
          <a:custGeom>
            <a:avLst/>
            <a:gdLst>
              <a:gd name="T0" fmla="*/ 0 w 1739611"/>
              <a:gd name="T1" fmla="*/ 869806 h 1739611"/>
              <a:gd name="T2" fmla="*/ 869806 w 1739611"/>
              <a:gd name="T3" fmla="*/ 0 h 1739611"/>
              <a:gd name="T4" fmla="*/ 1739612 w 1739611"/>
              <a:gd name="T5" fmla="*/ 869806 h 1739611"/>
              <a:gd name="T6" fmla="*/ 869806 w 1739611"/>
              <a:gd name="T7" fmla="*/ 1739612 h 1739611"/>
              <a:gd name="T8" fmla="*/ 0 w 1739611"/>
              <a:gd name="T9" fmla="*/ 869806 h 1739611"/>
              <a:gd name="T10" fmla="*/ 314574 w 1739611"/>
              <a:gd name="T11" fmla="*/ 869806 h 1739611"/>
              <a:gd name="T12" fmla="*/ 869806 w 1739611"/>
              <a:gd name="T13" fmla="*/ 1425038 h 1739611"/>
              <a:gd name="T14" fmla="*/ 1425038 w 1739611"/>
              <a:gd name="T15" fmla="*/ 869806 h 1739611"/>
              <a:gd name="T16" fmla="*/ 869806 w 1739611"/>
              <a:gd name="T17" fmla="*/ 314574 h 1739611"/>
              <a:gd name="T18" fmla="*/ 314574 w 1739611"/>
              <a:gd name="T19" fmla="*/ 869806 h 1739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9611" h="1739611">
                <a:moveTo>
                  <a:pt x="0" y="869806"/>
                </a:moveTo>
                <a:cubicBezTo>
                  <a:pt x="0" y="389425"/>
                  <a:pt x="389425" y="0"/>
                  <a:pt x="869806" y="0"/>
                </a:cubicBezTo>
                <a:cubicBezTo>
                  <a:pt x="1350187" y="0"/>
                  <a:pt x="1739612" y="389425"/>
                  <a:pt x="1739612" y="869806"/>
                </a:cubicBezTo>
                <a:cubicBezTo>
                  <a:pt x="1739612" y="1350187"/>
                  <a:pt x="1350187" y="1739612"/>
                  <a:pt x="869806" y="1739612"/>
                </a:cubicBezTo>
                <a:cubicBezTo>
                  <a:pt x="389425" y="1739612"/>
                  <a:pt x="0" y="1350187"/>
                  <a:pt x="0" y="869806"/>
                </a:cubicBezTo>
                <a:close/>
                <a:moveTo>
                  <a:pt x="314574" y="869806"/>
                </a:moveTo>
                <a:cubicBezTo>
                  <a:pt x="314574" y="1176452"/>
                  <a:pt x="563160" y="1425038"/>
                  <a:pt x="869806" y="1425038"/>
                </a:cubicBezTo>
                <a:cubicBezTo>
                  <a:pt x="1176452" y="1425038"/>
                  <a:pt x="1425038" y="1176452"/>
                  <a:pt x="1425038" y="869806"/>
                </a:cubicBezTo>
                <a:cubicBezTo>
                  <a:pt x="1425038" y="563160"/>
                  <a:pt x="1176452" y="314574"/>
                  <a:pt x="869806" y="314574"/>
                </a:cubicBezTo>
                <a:cubicBezTo>
                  <a:pt x="563160" y="314574"/>
                  <a:pt x="314574" y="563160"/>
                  <a:pt x="314574" y="869806"/>
                </a:cubicBezTo>
                <a:close/>
              </a:path>
            </a:pathLst>
          </a:custGeom>
          <a:solidFill>
            <a:schemeClr val="accent1">
              <a:lumMod val="50000"/>
            </a:schemeClr>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marL="22844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7416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1988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6560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buFont typeface="Arial" panose="020B0604020202020204" pitchFamily="34" charset="0"/>
              <a:buNone/>
              <a:defRPr/>
            </a:pPr>
            <a:endParaRPr lang="zh-CN" altLang="en-US"/>
          </a:p>
        </p:txBody>
      </p:sp>
      <p:sp>
        <p:nvSpPr>
          <p:cNvPr id="44" name="同心圆 75"/>
          <p:cNvSpPr>
            <a:spLocks noChangeArrowheads="1"/>
          </p:cNvSpPr>
          <p:nvPr/>
        </p:nvSpPr>
        <p:spPr bwMode="auto">
          <a:xfrm>
            <a:off x="8065755" y="3423534"/>
            <a:ext cx="2282101" cy="2282101"/>
          </a:xfrm>
          <a:custGeom>
            <a:avLst/>
            <a:gdLst>
              <a:gd name="T0" fmla="*/ 0 w 1739611"/>
              <a:gd name="T1" fmla="*/ 869806 h 1739611"/>
              <a:gd name="T2" fmla="*/ 869806 w 1739611"/>
              <a:gd name="T3" fmla="*/ 0 h 1739611"/>
              <a:gd name="T4" fmla="*/ 1739612 w 1739611"/>
              <a:gd name="T5" fmla="*/ 869806 h 1739611"/>
              <a:gd name="T6" fmla="*/ 869806 w 1739611"/>
              <a:gd name="T7" fmla="*/ 1739612 h 1739611"/>
              <a:gd name="T8" fmla="*/ 0 w 1739611"/>
              <a:gd name="T9" fmla="*/ 869806 h 1739611"/>
              <a:gd name="T10" fmla="*/ 314574 w 1739611"/>
              <a:gd name="T11" fmla="*/ 869806 h 1739611"/>
              <a:gd name="T12" fmla="*/ 869806 w 1739611"/>
              <a:gd name="T13" fmla="*/ 1425038 h 1739611"/>
              <a:gd name="T14" fmla="*/ 1425038 w 1739611"/>
              <a:gd name="T15" fmla="*/ 869806 h 1739611"/>
              <a:gd name="T16" fmla="*/ 869806 w 1739611"/>
              <a:gd name="T17" fmla="*/ 314574 h 1739611"/>
              <a:gd name="T18" fmla="*/ 314574 w 1739611"/>
              <a:gd name="T19" fmla="*/ 869806 h 1739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9611" h="1739611">
                <a:moveTo>
                  <a:pt x="0" y="869806"/>
                </a:moveTo>
                <a:cubicBezTo>
                  <a:pt x="0" y="389425"/>
                  <a:pt x="389425" y="0"/>
                  <a:pt x="869806" y="0"/>
                </a:cubicBezTo>
                <a:cubicBezTo>
                  <a:pt x="1350187" y="0"/>
                  <a:pt x="1739612" y="389425"/>
                  <a:pt x="1739612" y="869806"/>
                </a:cubicBezTo>
                <a:cubicBezTo>
                  <a:pt x="1739612" y="1350187"/>
                  <a:pt x="1350187" y="1739612"/>
                  <a:pt x="869806" y="1739612"/>
                </a:cubicBezTo>
                <a:cubicBezTo>
                  <a:pt x="389425" y="1739612"/>
                  <a:pt x="0" y="1350187"/>
                  <a:pt x="0" y="869806"/>
                </a:cubicBezTo>
                <a:close/>
                <a:moveTo>
                  <a:pt x="314574" y="869806"/>
                </a:moveTo>
                <a:cubicBezTo>
                  <a:pt x="314574" y="1176452"/>
                  <a:pt x="563160" y="1425038"/>
                  <a:pt x="869806" y="1425038"/>
                </a:cubicBezTo>
                <a:cubicBezTo>
                  <a:pt x="1176452" y="1425038"/>
                  <a:pt x="1425038" y="1176452"/>
                  <a:pt x="1425038" y="869806"/>
                </a:cubicBezTo>
                <a:cubicBezTo>
                  <a:pt x="1425038" y="563160"/>
                  <a:pt x="1176452" y="314574"/>
                  <a:pt x="869806" y="314574"/>
                </a:cubicBezTo>
                <a:cubicBezTo>
                  <a:pt x="563160" y="314574"/>
                  <a:pt x="314574" y="563160"/>
                  <a:pt x="314574" y="869806"/>
                </a:cubicBezTo>
                <a:close/>
              </a:path>
            </a:pathLst>
          </a:custGeom>
          <a:solidFill>
            <a:schemeClr val="accent1">
              <a:lumMod val="50000"/>
            </a:schemeClr>
          </a:solidFill>
          <a:ln>
            <a:noFill/>
          </a:ln>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marL="22844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7416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1988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6560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buFont typeface="Arial" panose="020B0604020202020204" pitchFamily="34" charset="0"/>
              <a:buNone/>
              <a:defRPr/>
            </a:pPr>
            <a:endParaRPr lang="zh-CN" altLang="en-US"/>
          </a:p>
        </p:txBody>
      </p:sp>
      <p:sp>
        <p:nvSpPr>
          <p:cNvPr id="45" name="文本框 44"/>
          <p:cNvSpPr txBox="1">
            <a:spLocks noChangeArrowheads="1"/>
          </p:cNvSpPr>
          <p:nvPr/>
        </p:nvSpPr>
        <p:spPr bwMode="auto">
          <a:xfrm>
            <a:off x="2433974" y="4171243"/>
            <a:ext cx="113896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marL="22844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7416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1988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6560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buFont typeface="Arial" panose="020B0604020202020204" pitchFamily="34" charset="0"/>
              <a:buNone/>
              <a:defRPr/>
            </a:pPr>
            <a:r>
              <a:rPr lang="en-US" altLang="zh-CN" sz="4000" dirty="0">
                <a:solidFill>
                  <a:schemeClr val="bg1"/>
                </a:solidFill>
                <a:latin typeface="华文新魏" panose="02010800040101010101" pitchFamily="2" charset="-122"/>
                <a:ea typeface="华文新魏" panose="02010800040101010101" pitchFamily="2" charset="-122"/>
              </a:rPr>
              <a:t>50</a:t>
            </a:r>
            <a:r>
              <a:rPr lang="en-US" altLang="zh-CN" dirty="0">
                <a:solidFill>
                  <a:schemeClr val="bg1"/>
                </a:solidFill>
                <a:latin typeface="华文新魏" panose="02010800040101010101" pitchFamily="2" charset="-122"/>
                <a:ea typeface="华文新魏" panose="02010800040101010101" pitchFamily="2" charset="-122"/>
              </a:rPr>
              <a:t>%</a:t>
            </a:r>
            <a:endParaRPr lang="zh-CN" altLang="en-US" dirty="0">
              <a:solidFill>
                <a:schemeClr val="bg1"/>
              </a:solidFill>
              <a:latin typeface="华文新魏" panose="02010800040101010101" pitchFamily="2" charset="-122"/>
              <a:ea typeface="华文新魏" panose="02010800040101010101" pitchFamily="2" charset="-122"/>
            </a:endParaRPr>
          </a:p>
        </p:txBody>
      </p:sp>
      <p:sp>
        <p:nvSpPr>
          <p:cNvPr id="46" name="文本框 45"/>
          <p:cNvSpPr txBox="1">
            <a:spLocks noChangeArrowheads="1"/>
          </p:cNvSpPr>
          <p:nvPr/>
        </p:nvSpPr>
        <p:spPr bwMode="auto">
          <a:xfrm>
            <a:off x="5648108" y="4171243"/>
            <a:ext cx="114105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marL="22844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7416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1988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6560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buFont typeface="Arial" panose="020B0604020202020204" pitchFamily="34" charset="0"/>
              <a:buNone/>
              <a:defRPr/>
            </a:pPr>
            <a:r>
              <a:rPr lang="en-US" altLang="zh-CN" sz="4000" dirty="0">
                <a:solidFill>
                  <a:schemeClr val="bg1"/>
                </a:solidFill>
                <a:latin typeface="华文新魏" panose="02010800040101010101" pitchFamily="2" charset="-122"/>
                <a:ea typeface="华文新魏" panose="02010800040101010101" pitchFamily="2" charset="-122"/>
              </a:rPr>
              <a:t>60</a:t>
            </a:r>
            <a:r>
              <a:rPr lang="en-US" altLang="zh-CN" dirty="0">
                <a:solidFill>
                  <a:schemeClr val="bg1"/>
                </a:solidFill>
                <a:latin typeface="华文新魏" panose="02010800040101010101" pitchFamily="2" charset="-122"/>
                <a:ea typeface="华文新魏" panose="02010800040101010101" pitchFamily="2" charset="-122"/>
              </a:rPr>
              <a:t>%</a:t>
            </a:r>
            <a:endParaRPr lang="zh-CN" altLang="en-US" dirty="0">
              <a:solidFill>
                <a:schemeClr val="bg1"/>
              </a:solidFill>
              <a:latin typeface="华文新魏" panose="02010800040101010101" pitchFamily="2" charset="-122"/>
              <a:ea typeface="华文新魏" panose="02010800040101010101" pitchFamily="2" charset="-122"/>
            </a:endParaRPr>
          </a:p>
        </p:txBody>
      </p:sp>
      <p:sp>
        <p:nvSpPr>
          <p:cNvPr id="47" name="文本框 46"/>
          <p:cNvSpPr txBox="1">
            <a:spLocks noChangeArrowheads="1"/>
          </p:cNvSpPr>
          <p:nvPr/>
        </p:nvSpPr>
        <p:spPr bwMode="auto">
          <a:xfrm>
            <a:off x="8805672" y="4171243"/>
            <a:ext cx="113896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marL="22844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7416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1988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656013" indent="1588" defTabSz="912813"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buFont typeface="Arial" panose="020B0604020202020204" pitchFamily="34" charset="0"/>
              <a:buNone/>
              <a:defRPr/>
            </a:pPr>
            <a:r>
              <a:rPr lang="en-US" altLang="zh-CN" sz="4000" dirty="0">
                <a:solidFill>
                  <a:schemeClr val="bg1"/>
                </a:solidFill>
                <a:latin typeface="华文新魏" panose="02010800040101010101" pitchFamily="2" charset="-122"/>
                <a:ea typeface="华文新魏" panose="02010800040101010101" pitchFamily="2" charset="-122"/>
              </a:rPr>
              <a:t>70</a:t>
            </a:r>
            <a:r>
              <a:rPr lang="en-US" altLang="zh-CN" dirty="0">
                <a:solidFill>
                  <a:schemeClr val="bg1"/>
                </a:solidFill>
                <a:latin typeface="华文新魏" panose="02010800040101010101" pitchFamily="2" charset="-122"/>
                <a:ea typeface="华文新魏" panose="02010800040101010101" pitchFamily="2" charset="-122"/>
              </a:rPr>
              <a:t>%</a:t>
            </a:r>
            <a:endParaRPr lang="zh-CN" altLang="en-US" dirty="0">
              <a:solidFill>
                <a:schemeClr val="bg1"/>
              </a:solidFill>
              <a:latin typeface="华文新魏" panose="02010800040101010101" pitchFamily="2" charset="-122"/>
              <a:ea typeface="华文新魏" panose="02010800040101010101" pitchFamily="2" charset="-122"/>
            </a:endParaRPr>
          </a:p>
        </p:txBody>
      </p:sp>
      <p:sp>
        <p:nvSpPr>
          <p:cNvPr id="48"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49"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0"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4141586695"/>
      </p:ext>
    </p:extLst>
  </p:cSld>
  <p:clrMapOvr>
    <a:masterClrMapping/>
  </p:clrMapOvr>
  <mc:AlternateContent xmlns:mc="http://schemas.openxmlformats.org/markup-compatibility/2006" xmlns:p14="http://schemas.microsoft.com/office/powerpoint/2010/main">
    <mc:Choice Requires="p14">
      <p:transition spd="slow" p14:dur="1200" advTm="560">
        <p:dissolve/>
      </p:transition>
    </mc:Choice>
    <mc:Fallback xmlns="">
      <p:transition spd="slow" advTm="56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矩形 10"/>
          <p:cNvSpPr/>
          <p:nvPr/>
        </p:nvSpPr>
        <p:spPr>
          <a:xfrm>
            <a:off x="2469086" y="2642422"/>
            <a:ext cx="7175500" cy="179070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2"/>
          <p:cNvSpPr txBox="1">
            <a:spLocks noChangeArrowheads="1"/>
          </p:cNvSpPr>
          <p:nvPr/>
        </p:nvSpPr>
        <p:spPr bwMode="auto">
          <a:xfrm>
            <a:off x="3213783" y="2953572"/>
            <a:ext cx="5572125" cy="646113"/>
          </a:xfrm>
          <a:prstGeom prst="rect">
            <a:avLst/>
          </a:prstGeom>
          <a:noFill/>
          <a:ln w="9525">
            <a:noFill/>
            <a:miter lim="800000"/>
            <a:headEnd/>
            <a:tailEnd/>
          </a:ln>
        </p:spPr>
        <p:txBody>
          <a:bodyPr>
            <a:spAutoFit/>
          </a:bodyPr>
          <a:lstStyle/>
          <a:p>
            <a:pPr algn="ctr"/>
            <a:r>
              <a:rPr lang="zh-CN" altLang="en-US" sz="3600" dirty="0">
                <a:solidFill>
                  <a:schemeClr val="bg1"/>
                </a:solidFill>
                <a:latin typeface="等线 Light" panose="02010600030101010101" pitchFamily="2" charset="-122"/>
                <a:ea typeface="等线 Light" panose="02010600030101010101" pitchFamily="2" charset="-122"/>
              </a:rPr>
              <a:t>输入标题</a:t>
            </a:r>
            <a:endParaRPr lang="en-US" altLang="zh-CN" sz="3600" dirty="0">
              <a:solidFill>
                <a:schemeClr val="bg1"/>
              </a:solidFill>
              <a:latin typeface="等线 Light" panose="02010600030101010101" pitchFamily="2" charset="-122"/>
              <a:ea typeface="等线 Light" panose="02010600030101010101" pitchFamily="2" charset="-122"/>
            </a:endParaRPr>
          </a:p>
        </p:txBody>
      </p:sp>
      <p:sp>
        <p:nvSpPr>
          <p:cNvPr id="6" name="文本框 3"/>
          <p:cNvSpPr txBox="1">
            <a:spLocks noChangeArrowheads="1"/>
          </p:cNvSpPr>
          <p:nvPr/>
        </p:nvSpPr>
        <p:spPr bwMode="auto">
          <a:xfrm>
            <a:off x="5347262" y="3693238"/>
            <a:ext cx="1295547" cy="646331"/>
          </a:xfrm>
          <a:prstGeom prst="rect">
            <a:avLst/>
          </a:prstGeom>
          <a:noFill/>
          <a:ln w="9525">
            <a:noFill/>
            <a:miter lim="800000"/>
            <a:headEnd/>
            <a:tailEnd/>
          </a:ln>
        </p:spPr>
        <p:txBody>
          <a:bodyPr wrap="none">
            <a:spAutoFit/>
          </a:bodyPr>
          <a:lstStyle/>
          <a:p>
            <a:pPr eaLnBrk="1" hangingPunct="1">
              <a:buFont typeface="Arial" pitchFamily="34" charset="0"/>
              <a:buNone/>
            </a:pPr>
            <a:r>
              <a:rPr lang="en-US" altLang="zh-CN" sz="3600" b="1" dirty="0">
                <a:solidFill>
                  <a:schemeClr val="bg1"/>
                </a:solidFill>
                <a:latin typeface="等线 Light" panose="02010600030101010101" pitchFamily="2" charset="-122"/>
                <a:ea typeface="等线 Light" panose="02010600030101010101" pitchFamily="2" charset="-122"/>
              </a:rPr>
              <a:t>Part.3</a:t>
            </a:r>
            <a:endParaRPr lang="zh-CN" altLang="en-US" sz="3600" b="1" dirty="0">
              <a:solidFill>
                <a:schemeClr val="bg1"/>
              </a:solidFill>
              <a:latin typeface="等线 Light" panose="02010600030101010101" pitchFamily="2" charset="-122"/>
              <a:ea typeface="等线 Light" panose="02010600030101010101" pitchFamily="2" charset="-122"/>
            </a:endParaRPr>
          </a:p>
        </p:txBody>
      </p:sp>
      <p:cxnSp>
        <p:nvCxnSpPr>
          <p:cNvPr id="9" name="直接连接符 8"/>
          <p:cNvCxnSpPr/>
          <p:nvPr/>
        </p:nvCxnSpPr>
        <p:spPr>
          <a:xfrm>
            <a:off x="0" y="4433122"/>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317552020"/>
      </p:ext>
    </p:extLst>
  </p:cSld>
  <p:clrMapOvr>
    <a:masterClrMapping/>
  </p:clrMapOvr>
  <mc:AlternateContent xmlns:mc="http://schemas.openxmlformats.org/markup-compatibility/2006" xmlns:p14="http://schemas.microsoft.com/office/powerpoint/2010/main">
    <mc:Choice Requires="p14">
      <p:transition spd="slow" p14:dur="1200" advTm="612">
        <p:dissolve/>
      </p:transition>
    </mc:Choice>
    <mc:Fallback xmlns="">
      <p:transition spd="slow" advTm="612">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组合 1"/>
          <p:cNvGrpSpPr/>
          <p:nvPr/>
        </p:nvGrpSpPr>
        <p:grpSpPr>
          <a:xfrm>
            <a:off x="5338907" y="1691408"/>
            <a:ext cx="1525912" cy="2682996"/>
            <a:chOff x="5338907" y="1942131"/>
            <a:chExt cx="1525912" cy="2682996"/>
          </a:xfrm>
        </p:grpSpPr>
        <p:sp>
          <p:nvSpPr>
            <p:cNvPr id="3" name="任意多边形 10"/>
            <p:cNvSpPr/>
            <p:nvPr/>
          </p:nvSpPr>
          <p:spPr>
            <a:xfrm flipH="1">
              <a:off x="5741392" y="1942131"/>
              <a:ext cx="1123427" cy="1611873"/>
            </a:xfrm>
            <a:custGeom>
              <a:avLst/>
              <a:gdLst>
                <a:gd name="connsiteX0" fmla="*/ 1261872 w 1261872"/>
                <a:gd name="connsiteY0" fmla="*/ 1810512 h 1810512"/>
                <a:gd name="connsiteX1" fmla="*/ 475488 w 1261872"/>
                <a:gd name="connsiteY1" fmla="*/ 1810512 h 1810512"/>
                <a:gd name="connsiteX2" fmla="*/ 0 w 1261872"/>
                <a:gd name="connsiteY2" fmla="*/ 0 h 1810512"/>
                <a:gd name="connsiteX3" fmla="*/ 749808 w 1261872"/>
                <a:gd name="connsiteY3" fmla="*/ 0 h 1810512"/>
                <a:gd name="connsiteX4" fmla="*/ 1261872 w 1261872"/>
                <a:gd name="connsiteY4" fmla="*/ 1810512 h 181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872" h="1810512">
                  <a:moveTo>
                    <a:pt x="1261872" y="1810512"/>
                  </a:moveTo>
                  <a:lnTo>
                    <a:pt x="475488" y="1810512"/>
                  </a:lnTo>
                  <a:lnTo>
                    <a:pt x="0" y="0"/>
                  </a:lnTo>
                  <a:lnTo>
                    <a:pt x="749808" y="0"/>
                  </a:lnTo>
                  <a:lnTo>
                    <a:pt x="1261872" y="1810512"/>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sp>
          <p:nvSpPr>
            <p:cNvPr id="4" name="圆角矩形 11"/>
            <p:cNvSpPr/>
            <p:nvPr/>
          </p:nvSpPr>
          <p:spPr>
            <a:xfrm>
              <a:off x="5627001" y="3433570"/>
              <a:ext cx="981867" cy="283250"/>
            </a:xfrm>
            <a:prstGeom prst="roundRect">
              <a:avLst>
                <a:gd name="adj" fmla="val 50000"/>
              </a:avLst>
            </a:prstGeom>
            <a:noFill/>
            <a:ln w="762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 name="圆角矩形 12"/>
            <p:cNvSpPr/>
            <p:nvPr/>
          </p:nvSpPr>
          <p:spPr>
            <a:xfrm rot="5400000">
              <a:off x="5673947" y="4015840"/>
              <a:ext cx="909227" cy="309348"/>
            </a:xfrm>
            <a:prstGeom prst="roundRect">
              <a:avLst>
                <a:gd name="adj" fmla="val 50000"/>
              </a:avLst>
            </a:prstGeom>
            <a:noFill/>
            <a:ln w="762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 name="任意多边形 13"/>
            <p:cNvSpPr/>
            <p:nvPr/>
          </p:nvSpPr>
          <p:spPr>
            <a:xfrm>
              <a:off x="5338907" y="1942131"/>
              <a:ext cx="1123427" cy="1611873"/>
            </a:xfrm>
            <a:custGeom>
              <a:avLst/>
              <a:gdLst>
                <a:gd name="connsiteX0" fmla="*/ 1261872 w 1261872"/>
                <a:gd name="connsiteY0" fmla="*/ 1810512 h 1810512"/>
                <a:gd name="connsiteX1" fmla="*/ 475488 w 1261872"/>
                <a:gd name="connsiteY1" fmla="*/ 1810512 h 1810512"/>
                <a:gd name="connsiteX2" fmla="*/ 0 w 1261872"/>
                <a:gd name="connsiteY2" fmla="*/ 0 h 1810512"/>
                <a:gd name="connsiteX3" fmla="*/ 749808 w 1261872"/>
                <a:gd name="connsiteY3" fmla="*/ 0 h 1810512"/>
                <a:gd name="connsiteX4" fmla="*/ 1261872 w 1261872"/>
                <a:gd name="connsiteY4" fmla="*/ 1810512 h 181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872" h="1810512">
                  <a:moveTo>
                    <a:pt x="1261872" y="1810512"/>
                  </a:moveTo>
                  <a:lnTo>
                    <a:pt x="475488" y="1810512"/>
                  </a:lnTo>
                  <a:lnTo>
                    <a:pt x="0" y="0"/>
                  </a:lnTo>
                  <a:lnTo>
                    <a:pt x="749808" y="0"/>
                  </a:lnTo>
                  <a:lnTo>
                    <a:pt x="1261872" y="1810512"/>
                  </a:lnTo>
                  <a:close/>
                </a:path>
              </a:pathLst>
            </a:custGeom>
            <a:solidFill>
              <a:srgbClr val="247C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7" name="组合 6"/>
          <p:cNvGrpSpPr/>
          <p:nvPr/>
        </p:nvGrpSpPr>
        <p:grpSpPr>
          <a:xfrm>
            <a:off x="6096000" y="4890053"/>
            <a:ext cx="1288268" cy="1288268"/>
            <a:chOff x="6096000" y="5140776"/>
            <a:chExt cx="1288268" cy="1288268"/>
          </a:xfrm>
        </p:grpSpPr>
        <p:sp>
          <p:nvSpPr>
            <p:cNvPr id="8" name="任意多边形 17"/>
            <p:cNvSpPr/>
            <p:nvPr/>
          </p:nvSpPr>
          <p:spPr>
            <a:xfrm>
              <a:off x="6096000" y="5140776"/>
              <a:ext cx="1288268" cy="1288268"/>
            </a:xfrm>
            <a:custGeom>
              <a:avLst/>
              <a:gdLst>
                <a:gd name="connsiteX0" fmla="*/ 0 w 1447027"/>
                <a:gd name="connsiteY0" fmla="*/ 0 h 1447027"/>
                <a:gd name="connsiteX1" fmla="*/ 1447027 w 1447027"/>
                <a:gd name="connsiteY1" fmla="*/ 0 h 1447027"/>
                <a:gd name="connsiteX2" fmla="*/ 0 w 1447027"/>
                <a:gd name="connsiteY2" fmla="*/ 1447027 h 1447027"/>
                <a:gd name="connsiteX3" fmla="*/ 0 w 1447027"/>
                <a:gd name="connsiteY3" fmla="*/ 0 h 1447027"/>
              </a:gdLst>
              <a:ahLst/>
              <a:cxnLst>
                <a:cxn ang="0">
                  <a:pos x="connsiteX0" y="connsiteY0"/>
                </a:cxn>
                <a:cxn ang="0">
                  <a:pos x="connsiteX1" y="connsiteY1"/>
                </a:cxn>
                <a:cxn ang="0">
                  <a:pos x="connsiteX2" y="connsiteY2"/>
                </a:cxn>
                <a:cxn ang="0">
                  <a:pos x="connsiteX3" y="connsiteY3"/>
                </a:cxn>
              </a:cxnLst>
              <a:rect l="l" t="t" r="r" b="b"/>
              <a:pathLst>
                <a:path w="1447027" h="1447027">
                  <a:moveTo>
                    <a:pt x="0" y="0"/>
                  </a:moveTo>
                  <a:lnTo>
                    <a:pt x="1447027" y="0"/>
                  </a:lnTo>
                  <a:cubicBezTo>
                    <a:pt x="1447027" y="799171"/>
                    <a:pt x="799171" y="1447027"/>
                    <a:pt x="0" y="1447027"/>
                  </a:cubicBezTo>
                  <a:lnTo>
                    <a:pt x="0"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sp>
          <p:nvSpPr>
            <p:cNvPr id="9" name="Freeform 22"/>
            <p:cNvSpPr>
              <a:spLocks noEditPoints="1"/>
            </p:cNvSpPr>
            <p:nvPr/>
          </p:nvSpPr>
          <p:spPr bwMode="auto">
            <a:xfrm>
              <a:off x="6477536" y="5446696"/>
              <a:ext cx="343851" cy="403799"/>
            </a:xfrm>
            <a:custGeom>
              <a:avLst/>
              <a:gdLst>
                <a:gd name="T0" fmla="*/ 90 w 641"/>
                <a:gd name="T1" fmla="*/ 424 h 748"/>
                <a:gd name="T2" fmla="*/ 158 w 641"/>
                <a:gd name="T3" fmla="*/ 424 h 748"/>
                <a:gd name="T4" fmla="*/ 205 w 641"/>
                <a:gd name="T5" fmla="*/ 408 h 748"/>
                <a:gd name="T6" fmla="*/ 291 w 641"/>
                <a:gd name="T7" fmla="*/ 588 h 748"/>
                <a:gd name="T8" fmla="*/ 312 w 641"/>
                <a:gd name="T9" fmla="*/ 475 h 748"/>
                <a:gd name="T10" fmla="*/ 297 w 641"/>
                <a:gd name="T11" fmla="*/ 468 h 748"/>
                <a:gd name="T12" fmla="*/ 298 w 641"/>
                <a:gd name="T13" fmla="*/ 452 h 748"/>
                <a:gd name="T14" fmla="*/ 360 w 641"/>
                <a:gd name="T15" fmla="*/ 452 h 748"/>
                <a:gd name="T16" fmla="*/ 360 w 641"/>
                <a:gd name="T17" fmla="*/ 468 h 748"/>
                <a:gd name="T18" fmla="*/ 346 w 641"/>
                <a:gd name="T19" fmla="*/ 475 h 748"/>
                <a:gd name="T20" fmla="*/ 365 w 641"/>
                <a:gd name="T21" fmla="*/ 583 h 748"/>
                <a:gd name="T22" fmla="*/ 439 w 641"/>
                <a:gd name="T23" fmla="*/ 415 h 748"/>
                <a:gd name="T24" fmla="*/ 482 w 641"/>
                <a:gd name="T25" fmla="*/ 420 h 748"/>
                <a:gd name="T26" fmla="*/ 545 w 641"/>
                <a:gd name="T27" fmla="*/ 420 h 748"/>
                <a:gd name="T28" fmla="*/ 632 w 641"/>
                <a:gd name="T29" fmla="*/ 691 h 748"/>
                <a:gd name="T30" fmla="*/ 544 w 641"/>
                <a:gd name="T31" fmla="*/ 722 h 748"/>
                <a:gd name="T32" fmla="*/ 532 w 641"/>
                <a:gd name="T33" fmla="*/ 681 h 748"/>
                <a:gd name="T34" fmla="*/ 504 w 641"/>
                <a:gd name="T35" fmla="*/ 729 h 748"/>
                <a:gd name="T36" fmla="*/ 123 w 641"/>
                <a:gd name="T37" fmla="*/ 731 h 748"/>
                <a:gd name="T38" fmla="*/ 94 w 641"/>
                <a:gd name="T39" fmla="*/ 681 h 748"/>
                <a:gd name="T40" fmla="*/ 81 w 641"/>
                <a:gd name="T41" fmla="*/ 724 h 748"/>
                <a:gd name="T42" fmla="*/ 0 w 641"/>
                <a:gd name="T43" fmla="*/ 691 h 748"/>
                <a:gd name="T44" fmla="*/ 90 w 641"/>
                <a:gd name="T45" fmla="*/ 424 h 748"/>
                <a:gd name="T46" fmla="*/ 185 w 641"/>
                <a:gd name="T47" fmla="*/ 289 h 748"/>
                <a:gd name="T48" fmla="*/ 185 w 641"/>
                <a:gd name="T49" fmla="*/ 289 h 748"/>
                <a:gd name="T50" fmla="*/ 163 w 641"/>
                <a:gd name="T51" fmla="*/ 264 h 748"/>
                <a:gd name="T52" fmla="*/ 155 w 641"/>
                <a:gd name="T53" fmla="*/ 214 h 748"/>
                <a:gd name="T54" fmla="*/ 155 w 641"/>
                <a:gd name="T55" fmla="*/ 207 h 748"/>
                <a:gd name="T56" fmla="*/ 160 w 641"/>
                <a:gd name="T57" fmla="*/ 204 h 748"/>
                <a:gd name="T58" fmla="*/ 164 w 641"/>
                <a:gd name="T59" fmla="*/ 202 h 748"/>
                <a:gd name="T60" fmla="*/ 199 w 641"/>
                <a:gd name="T61" fmla="*/ 47 h 748"/>
                <a:gd name="T62" fmla="*/ 423 w 641"/>
                <a:gd name="T63" fmla="*/ 43 h 748"/>
                <a:gd name="T64" fmla="*/ 466 w 641"/>
                <a:gd name="T65" fmla="*/ 200 h 748"/>
                <a:gd name="T66" fmla="*/ 472 w 641"/>
                <a:gd name="T67" fmla="*/ 204 h 748"/>
                <a:gd name="T68" fmla="*/ 478 w 641"/>
                <a:gd name="T69" fmla="*/ 207 h 748"/>
                <a:gd name="T70" fmla="*/ 478 w 641"/>
                <a:gd name="T71" fmla="*/ 214 h 748"/>
                <a:gd name="T72" fmla="*/ 471 w 641"/>
                <a:gd name="T73" fmla="*/ 263 h 748"/>
                <a:gd name="T74" fmla="*/ 449 w 641"/>
                <a:gd name="T75" fmla="*/ 288 h 748"/>
                <a:gd name="T76" fmla="*/ 328 w 641"/>
                <a:gd name="T77" fmla="*/ 397 h 748"/>
                <a:gd name="T78" fmla="*/ 299 w 641"/>
                <a:gd name="T79" fmla="*/ 395 h 748"/>
                <a:gd name="T80" fmla="*/ 185 w 641"/>
                <a:gd name="T81" fmla="*/ 28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1" h="748">
                  <a:moveTo>
                    <a:pt x="90" y="424"/>
                  </a:moveTo>
                  <a:cubicBezTo>
                    <a:pt x="114" y="424"/>
                    <a:pt x="137" y="424"/>
                    <a:pt x="158" y="424"/>
                  </a:cubicBezTo>
                  <a:cubicBezTo>
                    <a:pt x="178" y="425"/>
                    <a:pt x="194" y="421"/>
                    <a:pt x="205" y="408"/>
                  </a:cubicBezTo>
                  <a:lnTo>
                    <a:pt x="291" y="588"/>
                  </a:lnTo>
                  <a:lnTo>
                    <a:pt x="312" y="475"/>
                  </a:lnTo>
                  <a:lnTo>
                    <a:pt x="297" y="468"/>
                  </a:lnTo>
                  <a:lnTo>
                    <a:pt x="298" y="452"/>
                  </a:lnTo>
                  <a:lnTo>
                    <a:pt x="360" y="452"/>
                  </a:lnTo>
                  <a:lnTo>
                    <a:pt x="360" y="468"/>
                  </a:lnTo>
                  <a:lnTo>
                    <a:pt x="346" y="475"/>
                  </a:lnTo>
                  <a:lnTo>
                    <a:pt x="365" y="583"/>
                  </a:lnTo>
                  <a:lnTo>
                    <a:pt x="439" y="415"/>
                  </a:lnTo>
                  <a:cubicBezTo>
                    <a:pt x="450" y="420"/>
                    <a:pt x="464" y="422"/>
                    <a:pt x="482" y="420"/>
                  </a:cubicBezTo>
                  <a:cubicBezTo>
                    <a:pt x="502" y="420"/>
                    <a:pt x="523" y="420"/>
                    <a:pt x="545" y="420"/>
                  </a:cubicBezTo>
                  <a:cubicBezTo>
                    <a:pt x="604" y="475"/>
                    <a:pt x="641" y="606"/>
                    <a:pt x="632" y="691"/>
                  </a:cubicBezTo>
                  <a:cubicBezTo>
                    <a:pt x="614" y="704"/>
                    <a:pt x="583" y="714"/>
                    <a:pt x="544" y="722"/>
                  </a:cubicBezTo>
                  <a:lnTo>
                    <a:pt x="532" y="681"/>
                  </a:lnTo>
                  <a:lnTo>
                    <a:pt x="504" y="729"/>
                  </a:lnTo>
                  <a:cubicBezTo>
                    <a:pt x="390" y="746"/>
                    <a:pt x="233" y="748"/>
                    <a:pt x="123" y="731"/>
                  </a:cubicBezTo>
                  <a:lnTo>
                    <a:pt x="94" y="681"/>
                  </a:lnTo>
                  <a:lnTo>
                    <a:pt x="81" y="724"/>
                  </a:lnTo>
                  <a:cubicBezTo>
                    <a:pt x="43" y="716"/>
                    <a:pt x="14" y="705"/>
                    <a:pt x="0" y="691"/>
                  </a:cubicBezTo>
                  <a:cubicBezTo>
                    <a:pt x="1" y="616"/>
                    <a:pt x="15" y="489"/>
                    <a:pt x="90" y="424"/>
                  </a:cubicBezTo>
                  <a:close/>
                  <a:moveTo>
                    <a:pt x="185" y="289"/>
                  </a:moveTo>
                  <a:lnTo>
                    <a:pt x="185" y="289"/>
                  </a:lnTo>
                  <a:cubicBezTo>
                    <a:pt x="175" y="284"/>
                    <a:pt x="168" y="275"/>
                    <a:pt x="163" y="264"/>
                  </a:cubicBezTo>
                  <a:cubicBezTo>
                    <a:pt x="157" y="251"/>
                    <a:pt x="155" y="234"/>
                    <a:pt x="155" y="214"/>
                  </a:cubicBezTo>
                  <a:lnTo>
                    <a:pt x="155" y="207"/>
                  </a:lnTo>
                  <a:lnTo>
                    <a:pt x="160" y="204"/>
                  </a:lnTo>
                  <a:cubicBezTo>
                    <a:pt x="162" y="203"/>
                    <a:pt x="163" y="202"/>
                    <a:pt x="164" y="202"/>
                  </a:cubicBezTo>
                  <a:cubicBezTo>
                    <a:pt x="152" y="117"/>
                    <a:pt x="162" y="78"/>
                    <a:pt x="199" y="47"/>
                  </a:cubicBezTo>
                  <a:cubicBezTo>
                    <a:pt x="256" y="0"/>
                    <a:pt x="365" y="0"/>
                    <a:pt x="423" y="43"/>
                  </a:cubicBezTo>
                  <a:cubicBezTo>
                    <a:pt x="463" y="72"/>
                    <a:pt x="477" y="123"/>
                    <a:pt x="466" y="200"/>
                  </a:cubicBezTo>
                  <a:cubicBezTo>
                    <a:pt x="468" y="201"/>
                    <a:pt x="470" y="202"/>
                    <a:pt x="472" y="204"/>
                  </a:cubicBezTo>
                  <a:lnTo>
                    <a:pt x="478" y="207"/>
                  </a:lnTo>
                  <a:lnTo>
                    <a:pt x="478" y="214"/>
                  </a:lnTo>
                  <a:cubicBezTo>
                    <a:pt x="478" y="233"/>
                    <a:pt x="476" y="250"/>
                    <a:pt x="471" y="263"/>
                  </a:cubicBezTo>
                  <a:cubicBezTo>
                    <a:pt x="466" y="275"/>
                    <a:pt x="459" y="283"/>
                    <a:pt x="449" y="288"/>
                  </a:cubicBezTo>
                  <a:cubicBezTo>
                    <a:pt x="434" y="338"/>
                    <a:pt x="381" y="392"/>
                    <a:pt x="328" y="397"/>
                  </a:cubicBezTo>
                  <a:cubicBezTo>
                    <a:pt x="319" y="398"/>
                    <a:pt x="308" y="398"/>
                    <a:pt x="299" y="395"/>
                  </a:cubicBezTo>
                  <a:cubicBezTo>
                    <a:pt x="241" y="374"/>
                    <a:pt x="203" y="350"/>
                    <a:pt x="185" y="289"/>
                  </a:cubicBezTo>
                  <a:close/>
                </a:path>
              </a:pathLst>
            </a:custGeom>
            <a:solidFill>
              <a:srgbClr val="FDFDFD"/>
            </a:solidFill>
            <a:ln>
              <a:noFill/>
            </a:ln>
          </p:spPr>
          <p:txBody>
            <a:bodyPr vert="horz" wrap="square" lIns="91440" tIns="45720" rIns="91440" bIns="45720" numCol="1" anchor="t" anchorCtr="0" compatLnSpc="1"/>
            <a:lstStyle/>
            <a:p>
              <a:endParaRPr lang="zh-CN" altLang="en-US"/>
            </a:p>
          </p:txBody>
        </p:sp>
      </p:grpSp>
      <p:grpSp>
        <p:nvGrpSpPr>
          <p:cNvPr id="10" name="组合 9"/>
          <p:cNvGrpSpPr/>
          <p:nvPr/>
        </p:nvGrpSpPr>
        <p:grpSpPr>
          <a:xfrm>
            <a:off x="4807732" y="3601786"/>
            <a:ext cx="1288268" cy="1288268"/>
            <a:chOff x="4807732" y="3852509"/>
            <a:chExt cx="1288268" cy="1288268"/>
          </a:xfrm>
        </p:grpSpPr>
        <p:sp>
          <p:nvSpPr>
            <p:cNvPr id="11" name="任意多边形 14"/>
            <p:cNvSpPr/>
            <p:nvPr/>
          </p:nvSpPr>
          <p:spPr>
            <a:xfrm>
              <a:off x="4807732" y="3852509"/>
              <a:ext cx="1288268" cy="1288268"/>
            </a:xfrm>
            <a:custGeom>
              <a:avLst/>
              <a:gdLst>
                <a:gd name="connsiteX0" fmla="*/ 1447027 w 1447027"/>
                <a:gd name="connsiteY0" fmla="*/ 0 h 1447027"/>
                <a:gd name="connsiteX1" fmla="*/ 1447027 w 1447027"/>
                <a:gd name="connsiteY1" fmla="*/ 1447027 h 1447027"/>
                <a:gd name="connsiteX2" fmla="*/ 0 w 1447027"/>
                <a:gd name="connsiteY2" fmla="*/ 1447027 h 1447027"/>
                <a:gd name="connsiteX3" fmla="*/ 1447027 w 1447027"/>
                <a:gd name="connsiteY3" fmla="*/ 0 h 1447027"/>
              </a:gdLst>
              <a:ahLst/>
              <a:cxnLst>
                <a:cxn ang="0">
                  <a:pos x="connsiteX0" y="connsiteY0"/>
                </a:cxn>
                <a:cxn ang="0">
                  <a:pos x="connsiteX1" y="connsiteY1"/>
                </a:cxn>
                <a:cxn ang="0">
                  <a:pos x="connsiteX2" y="connsiteY2"/>
                </a:cxn>
                <a:cxn ang="0">
                  <a:pos x="connsiteX3" y="connsiteY3"/>
                </a:cxn>
              </a:cxnLst>
              <a:rect l="l" t="t" r="r" b="b"/>
              <a:pathLst>
                <a:path w="1447027" h="1447027">
                  <a:moveTo>
                    <a:pt x="1447027" y="0"/>
                  </a:moveTo>
                  <a:lnTo>
                    <a:pt x="1447027" y="1447027"/>
                  </a:lnTo>
                  <a:lnTo>
                    <a:pt x="0" y="1447027"/>
                  </a:lnTo>
                  <a:cubicBezTo>
                    <a:pt x="0" y="647856"/>
                    <a:pt x="647856" y="0"/>
                    <a:pt x="1447027"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sp>
          <p:nvSpPr>
            <p:cNvPr id="12" name="Freeform 14"/>
            <p:cNvSpPr>
              <a:spLocks noEditPoints="1"/>
            </p:cNvSpPr>
            <p:nvPr/>
          </p:nvSpPr>
          <p:spPr bwMode="auto">
            <a:xfrm>
              <a:off x="5352490" y="4371218"/>
              <a:ext cx="388902" cy="387335"/>
            </a:xfrm>
            <a:custGeom>
              <a:avLst/>
              <a:gdLst>
                <a:gd name="T0" fmla="*/ 359 w 605"/>
                <a:gd name="T1" fmla="*/ 39 h 602"/>
                <a:gd name="T2" fmla="*/ 462 w 605"/>
                <a:gd name="T3" fmla="*/ 85 h 602"/>
                <a:gd name="T4" fmla="*/ 537 w 605"/>
                <a:gd name="T5" fmla="*/ 168 h 602"/>
                <a:gd name="T6" fmla="*/ 572 w 605"/>
                <a:gd name="T7" fmla="*/ 275 h 602"/>
                <a:gd name="T8" fmla="*/ 560 w 605"/>
                <a:gd name="T9" fmla="*/ 387 h 602"/>
                <a:gd name="T10" fmla="*/ 504 w 605"/>
                <a:gd name="T11" fmla="*/ 484 h 602"/>
                <a:gd name="T12" fmla="*/ 413 w 605"/>
                <a:gd name="T13" fmla="*/ 551 h 602"/>
                <a:gd name="T14" fmla="*/ 303 w 605"/>
                <a:gd name="T15" fmla="*/ 574 h 602"/>
                <a:gd name="T16" fmla="*/ 193 w 605"/>
                <a:gd name="T17" fmla="*/ 551 h 602"/>
                <a:gd name="T18" fmla="*/ 102 w 605"/>
                <a:gd name="T19" fmla="*/ 484 h 602"/>
                <a:gd name="T20" fmla="*/ 46 w 605"/>
                <a:gd name="T21" fmla="*/ 387 h 602"/>
                <a:gd name="T22" fmla="*/ 34 w 605"/>
                <a:gd name="T23" fmla="*/ 275 h 602"/>
                <a:gd name="T24" fmla="*/ 69 w 605"/>
                <a:gd name="T25" fmla="*/ 168 h 602"/>
                <a:gd name="T26" fmla="*/ 144 w 605"/>
                <a:gd name="T27" fmla="*/ 85 h 602"/>
                <a:gd name="T28" fmla="*/ 247 w 605"/>
                <a:gd name="T29" fmla="*/ 39 h 602"/>
                <a:gd name="T30" fmla="*/ 359 w 605"/>
                <a:gd name="T31" fmla="*/ 39 h 602"/>
                <a:gd name="T32" fmla="*/ 376 w 605"/>
                <a:gd name="T33" fmla="*/ 379 h 602"/>
                <a:gd name="T34" fmla="*/ 376 w 605"/>
                <a:gd name="T35" fmla="*/ 379 h 602"/>
                <a:gd name="T36" fmla="*/ 412 w 605"/>
                <a:gd name="T37" fmla="*/ 419 h 602"/>
                <a:gd name="T38" fmla="*/ 397 w 605"/>
                <a:gd name="T39" fmla="*/ 332 h 602"/>
                <a:gd name="T40" fmla="*/ 376 w 605"/>
                <a:gd name="T41" fmla="*/ 379 h 602"/>
                <a:gd name="T42" fmla="*/ 186 w 605"/>
                <a:gd name="T43" fmla="*/ 222 h 602"/>
                <a:gd name="T44" fmla="*/ 186 w 605"/>
                <a:gd name="T45" fmla="*/ 222 h 602"/>
                <a:gd name="T46" fmla="*/ 221 w 605"/>
                <a:gd name="T47" fmla="*/ 261 h 602"/>
                <a:gd name="T48" fmla="*/ 207 w 605"/>
                <a:gd name="T49" fmla="*/ 175 h 602"/>
                <a:gd name="T50" fmla="*/ 186 w 605"/>
                <a:gd name="T51" fmla="*/ 222 h 602"/>
                <a:gd name="T52" fmla="*/ 141 w 605"/>
                <a:gd name="T53" fmla="*/ 222 h 602"/>
                <a:gd name="T54" fmla="*/ 141 w 605"/>
                <a:gd name="T55" fmla="*/ 222 h 602"/>
                <a:gd name="T56" fmla="*/ 256 w 605"/>
                <a:gd name="T57" fmla="*/ 162 h 602"/>
                <a:gd name="T58" fmla="*/ 208 w 605"/>
                <a:gd name="T59" fmla="*/ 301 h 602"/>
                <a:gd name="T60" fmla="*/ 141 w 605"/>
                <a:gd name="T61" fmla="*/ 222 h 602"/>
                <a:gd name="T62" fmla="*/ 244 w 605"/>
                <a:gd name="T63" fmla="*/ 460 h 602"/>
                <a:gd name="T64" fmla="*/ 244 w 605"/>
                <a:gd name="T65" fmla="*/ 460 h 602"/>
                <a:gd name="T66" fmla="*/ 201 w 605"/>
                <a:gd name="T67" fmla="*/ 460 h 602"/>
                <a:gd name="T68" fmla="*/ 362 w 605"/>
                <a:gd name="T69" fmla="*/ 141 h 602"/>
                <a:gd name="T70" fmla="*/ 404 w 605"/>
                <a:gd name="T71" fmla="*/ 141 h 602"/>
                <a:gd name="T72" fmla="*/ 244 w 605"/>
                <a:gd name="T73" fmla="*/ 460 h 602"/>
                <a:gd name="T74" fmla="*/ 331 w 605"/>
                <a:gd name="T75" fmla="*/ 379 h 602"/>
                <a:gd name="T76" fmla="*/ 331 w 605"/>
                <a:gd name="T77" fmla="*/ 379 h 602"/>
                <a:gd name="T78" fmla="*/ 446 w 605"/>
                <a:gd name="T79" fmla="*/ 319 h 602"/>
                <a:gd name="T80" fmla="*/ 398 w 605"/>
                <a:gd name="T81" fmla="*/ 459 h 602"/>
                <a:gd name="T82" fmla="*/ 331 w 605"/>
                <a:gd name="T83" fmla="*/ 379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5" h="602">
                  <a:moveTo>
                    <a:pt x="359" y="39"/>
                  </a:moveTo>
                  <a:cubicBezTo>
                    <a:pt x="435" y="31"/>
                    <a:pt x="417" y="22"/>
                    <a:pt x="462" y="85"/>
                  </a:cubicBezTo>
                  <a:cubicBezTo>
                    <a:pt x="535" y="108"/>
                    <a:pt x="521" y="93"/>
                    <a:pt x="537" y="168"/>
                  </a:cubicBezTo>
                  <a:cubicBezTo>
                    <a:pt x="594" y="219"/>
                    <a:pt x="588" y="200"/>
                    <a:pt x="572" y="275"/>
                  </a:cubicBezTo>
                  <a:cubicBezTo>
                    <a:pt x="603" y="345"/>
                    <a:pt x="605" y="325"/>
                    <a:pt x="560" y="387"/>
                  </a:cubicBezTo>
                  <a:cubicBezTo>
                    <a:pt x="560" y="464"/>
                    <a:pt x="570" y="446"/>
                    <a:pt x="504" y="484"/>
                  </a:cubicBezTo>
                  <a:cubicBezTo>
                    <a:pt x="473" y="555"/>
                    <a:pt x="489" y="543"/>
                    <a:pt x="413" y="551"/>
                  </a:cubicBezTo>
                  <a:cubicBezTo>
                    <a:pt x="356" y="602"/>
                    <a:pt x="376" y="598"/>
                    <a:pt x="303" y="574"/>
                  </a:cubicBezTo>
                  <a:cubicBezTo>
                    <a:pt x="230" y="598"/>
                    <a:pt x="250" y="602"/>
                    <a:pt x="193" y="551"/>
                  </a:cubicBezTo>
                  <a:cubicBezTo>
                    <a:pt x="116" y="543"/>
                    <a:pt x="133" y="555"/>
                    <a:pt x="102" y="484"/>
                  </a:cubicBezTo>
                  <a:cubicBezTo>
                    <a:pt x="35" y="446"/>
                    <a:pt x="45" y="464"/>
                    <a:pt x="46" y="387"/>
                  </a:cubicBezTo>
                  <a:cubicBezTo>
                    <a:pt x="0" y="325"/>
                    <a:pt x="2" y="345"/>
                    <a:pt x="34" y="275"/>
                  </a:cubicBezTo>
                  <a:cubicBezTo>
                    <a:pt x="18" y="200"/>
                    <a:pt x="11" y="219"/>
                    <a:pt x="69" y="168"/>
                  </a:cubicBezTo>
                  <a:cubicBezTo>
                    <a:pt x="84" y="93"/>
                    <a:pt x="71" y="108"/>
                    <a:pt x="144" y="85"/>
                  </a:cubicBezTo>
                  <a:cubicBezTo>
                    <a:pt x="189" y="22"/>
                    <a:pt x="170" y="31"/>
                    <a:pt x="247" y="39"/>
                  </a:cubicBezTo>
                  <a:cubicBezTo>
                    <a:pt x="313" y="0"/>
                    <a:pt x="293" y="0"/>
                    <a:pt x="359" y="39"/>
                  </a:cubicBezTo>
                  <a:close/>
                  <a:moveTo>
                    <a:pt x="376" y="379"/>
                  </a:moveTo>
                  <a:lnTo>
                    <a:pt x="376" y="379"/>
                  </a:lnTo>
                  <a:cubicBezTo>
                    <a:pt x="376" y="443"/>
                    <a:pt x="406" y="427"/>
                    <a:pt x="412" y="419"/>
                  </a:cubicBezTo>
                  <a:cubicBezTo>
                    <a:pt x="418" y="409"/>
                    <a:pt x="429" y="332"/>
                    <a:pt x="397" y="332"/>
                  </a:cubicBezTo>
                  <a:cubicBezTo>
                    <a:pt x="378" y="332"/>
                    <a:pt x="376" y="356"/>
                    <a:pt x="376" y="379"/>
                  </a:cubicBezTo>
                  <a:close/>
                  <a:moveTo>
                    <a:pt x="186" y="222"/>
                  </a:moveTo>
                  <a:lnTo>
                    <a:pt x="186" y="222"/>
                  </a:lnTo>
                  <a:cubicBezTo>
                    <a:pt x="186" y="286"/>
                    <a:pt x="217" y="268"/>
                    <a:pt x="221" y="261"/>
                  </a:cubicBezTo>
                  <a:cubicBezTo>
                    <a:pt x="228" y="251"/>
                    <a:pt x="238" y="175"/>
                    <a:pt x="207" y="175"/>
                  </a:cubicBezTo>
                  <a:cubicBezTo>
                    <a:pt x="188" y="175"/>
                    <a:pt x="186" y="199"/>
                    <a:pt x="186" y="222"/>
                  </a:cubicBezTo>
                  <a:close/>
                  <a:moveTo>
                    <a:pt x="141" y="222"/>
                  </a:moveTo>
                  <a:lnTo>
                    <a:pt x="141" y="222"/>
                  </a:lnTo>
                  <a:cubicBezTo>
                    <a:pt x="141" y="124"/>
                    <a:pt x="229" y="132"/>
                    <a:pt x="256" y="162"/>
                  </a:cubicBezTo>
                  <a:cubicBezTo>
                    <a:pt x="282" y="190"/>
                    <a:pt x="291" y="301"/>
                    <a:pt x="208" y="301"/>
                  </a:cubicBezTo>
                  <a:cubicBezTo>
                    <a:pt x="160" y="301"/>
                    <a:pt x="141" y="269"/>
                    <a:pt x="141" y="222"/>
                  </a:cubicBezTo>
                  <a:close/>
                  <a:moveTo>
                    <a:pt x="244" y="460"/>
                  </a:moveTo>
                  <a:lnTo>
                    <a:pt x="244" y="460"/>
                  </a:lnTo>
                  <a:cubicBezTo>
                    <a:pt x="230" y="460"/>
                    <a:pt x="216" y="460"/>
                    <a:pt x="201" y="460"/>
                  </a:cubicBezTo>
                  <a:cubicBezTo>
                    <a:pt x="255" y="354"/>
                    <a:pt x="309" y="247"/>
                    <a:pt x="362" y="141"/>
                  </a:cubicBezTo>
                  <a:cubicBezTo>
                    <a:pt x="376" y="141"/>
                    <a:pt x="390" y="141"/>
                    <a:pt x="404" y="141"/>
                  </a:cubicBezTo>
                  <a:cubicBezTo>
                    <a:pt x="351" y="247"/>
                    <a:pt x="298" y="354"/>
                    <a:pt x="244" y="460"/>
                  </a:cubicBezTo>
                  <a:close/>
                  <a:moveTo>
                    <a:pt x="331" y="379"/>
                  </a:moveTo>
                  <a:lnTo>
                    <a:pt x="331" y="379"/>
                  </a:lnTo>
                  <a:cubicBezTo>
                    <a:pt x="331" y="282"/>
                    <a:pt x="419" y="289"/>
                    <a:pt x="446" y="319"/>
                  </a:cubicBezTo>
                  <a:cubicBezTo>
                    <a:pt x="473" y="348"/>
                    <a:pt x="481" y="459"/>
                    <a:pt x="398" y="459"/>
                  </a:cubicBezTo>
                  <a:cubicBezTo>
                    <a:pt x="351" y="459"/>
                    <a:pt x="331" y="427"/>
                    <a:pt x="331" y="379"/>
                  </a:cubicBezTo>
                  <a:close/>
                </a:path>
              </a:pathLst>
            </a:custGeom>
            <a:solidFill>
              <a:srgbClr val="FDFDFD"/>
            </a:solidFill>
            <a:ln>
              <a:noFill/>
            </a:ln>
          </p:spPr>
          <p:txBody>
            <a:bodyPr vert="horz" wrap="square" lIns="91440" tIns="45720" rIns="91440" bIns="45720" numCol="1" anchor="t" anchorCtr="0" compatLnSpc="1"/>
            <a:lstStyle/>
            <a:p>
              <a:endParaRPr lang="zh-CN" altLang="en-US">
                <a:solidFill>
                  <a:schemeClr val="accent2"/>
                </a:solidFill>
              </a:endParaRPr>
            </a:p>
          </p:txBody>
        </p:sp>
      </p:grpSp>
      <p:grpSp>
        <p:nvGrpSpPr>
          <p:cNvPr id="13" name="组合 12"/>
          <p:cNvGrpSpPr/>
          <p:nvPr/>
        </p:nvGrpSpPr>
        <p:grpSpPr>
          <a:xfrm>
            <a:off x="4807732" y="4890053"/>
            <a:ext cx="1288268" cy="1288268"/>
            <a:chOff x="4807732" y="5140776"/>
            <a:chExt cx="1288268" cy="1288268"/>
          </a:xfrm>
        </p:grpSpPr>
        <p:sp>
          <p:nvSpPr>
            <p:cNvPr id="14" name="任意多边形 16"/>
            <p:cNvSpPr/>
            <p:nvPr/>
          </p:nvSpPr>
          <p:spPr>
            <a:xfrm>
              <a:off x="4807732" y="5140776"/>
              <a:ext cx="1288268" cy="1288268"/>
            </a:xfrm>
            <a:custGeom>
              <a:avLst/>
              <a:gdLst>
                <a:gd name="connsiteX0" fmla="*/ 0 w 1447027"/>
                <a:gd name="connsiteY0" fmla="*/ 0 h 1447027"/>
                <a:gd name="connsiteX1" fmla="*/ 1447027 w 1447027"/>
                <a:gd name="connsiteY1" fmla="*/ 0 h 1447027"/>
                <a:gd name="connsiteX2" fmla="*/ 1447027 w 1447027"/>
                <a:gd name="connsiteY2" fmla="*/ 1447027 h 1447027"/>
                <a:gd name="connsiteX3" fmla="*/ 0 w 1447027"/>
                <a:gd name="connsiteY3" fmla="*/ 0 h 1447027"/>
              </a:gdLst>
              <a:ahLst/>
              <a:cxnLst>
                <a:cxn ang="0">
                  <a:pos x="connsiteX0" y="connsiteY0"/>
                </a:cxn>
                <a:cxn ang="0">
                  <a:pos x="connsiteX1" y="connsiteY1"/>
                </a:cxn>
                <a:cxn ang="0">
                  <a:pos x="connsiteX2" y="connsiteY2"/>
                </a:cxn>
                <a:cxn ang="0">
                  <a:pos x="connsiteX3" y="connsiteY3"/>
                </a:cxn>
              </a:cxnLst>
              <a:rect l="l" t="t" r="r" b="b"/>
              <a:pathLst>
                <a:path w="1447027" h="1447027">
                  <a:moveTo>
                    <a:pt x="0" y="0"/>
                  </a:moveTo>
                  <a:lnTo>
                    <a:pt x="1447027" y="0"/>
                  </a:lnTo>
                  <a:lnTo>
                    <a:pt x="1447027" y="1447027"/>
                  </a:lnTo>
                  <a:cubicBezTo>
                    <a:pt x="647856" y="1447027"/>
                    <a:pt x="0" y="799171"/>
                    <a:pt x="0" y="0"/>
                  </a:cubicBezTo>
                  <a:close/>
                </a:path>
              </a:pathLst>
            </a:custGeom>
            <a:solidFill>
              <a:srgbClr val="247C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 name="Freeform 26"/>
            <p:cNvSpPr>
              <a:spLocks noEditPoints="1"/>
            </p:cNvSpPr>
            <p:nvPr/>
          </p:nvSpPr>
          <p:spPr bwMode="auto">
            <a:xfrm>
              <a:off x="5492525" y="5490887"/>
              <a:ext cx="300218" cy="315418"/>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DFDFD"/>
            </a:solidFill>
            <a:ln>
              <a:noFill/>
            </a:ln>
          </p:spPr>
          <p:txBody>
            <a:bodyPr vert="horz" wrap="square" lIns="91440" tIns="45720" rIns="91440" bIns="45720" numCol="1" anchor="t" anchorCtr="0" compatLnSpc="1"/>
            <a:lstStyle/>
            <a:p>
              <a:endParaRPr lang="zh-CN" altLang="en-US">
                <a:solidFill>
                  <a:schemeClr val="accent2"/>
                </a:solidFill>
              </a:endParaRPr>
            </a:p>
          </p:txBody>
        </p:sp>
      </p:grpSp>
      <p:grpSp>
        <p:nvGrpSpPr>
          <p:cNvPr id="16" name="组合 15"/>
          <p:cNvGrpSpPr/>
          <p:nvPr/>
        </p:nvGrpSpPr>
        <p:grpSpPr>
          <a:xfrm>
            <a:off x="6096000" y="3601786"/>
            <a:ext cx="1288268" cy="1288268"/>
            <a:chOff x="6096000" y="3852509"/>
            <a:chExt cx="1288268" cy="1288268"/>
          </a:xfrm>
        </p:grpSpPr>
        <p:sp>
          <p:nvSpPr>
            <p:cNvPr id="17" name="任意多边形 15"/>
            <p:cNvSpPr/>
            <p:nvPr/>
          </p:nvSpPr>
          <p:spPr>
            <a:xfrm>
              <a:off x="6096000" y="3852509"/>
              <a:ext cx="1288268" cy="1288268"/>
            </a:xfrm>
            <a:custGeom>
              <a:avLst/>
              <a:gdLst>
                <a:gd name="connsiteX0" fmla="*/ 0 w 1447027"/>
                <a:gd name="connsiteY0" fmla="*/ 0 h 1447027"/>
                <a:gd name="connsiteX1" fmla="*/ 1447027 w 1447027"/>
                <a:gd name="connsiteY1" fmla="*/ 1447027 h 1447027"/>
                <a:gd name="connsiteX2" fmla="*/ 0 w 1447027"/>
                <a:gd name="connsiteY2" fmla="*/ 1447027 h 1447027"/>
                <a:gd name="connsiteX3" fmla="*/ 0 w 1447027"/>
                <a:gd name="connsiteY3" fmla="*/ 0 h 1447027"/>
              </a:gdLst>
              <a:ahLst/>
              <a:cxnLst>
                <a:cxn ang="0">
                  <a:pos x="connsiteX0" y="connsiteY0"/>
                </a:cxn>
                <a:cxn ang="0">
                  <a:pos x="connsiteX1" y="connsiteY1"/>
                </a:cxn>
                <a:cxn ang="0">
                  <a:pos x="connsiteX2" y="connsiteY2"/>
                </a:cxn>
                <a:cxn ang="0">
                  <a:pos x="connsiteX3" y="connsiteY3"/>
                </a:cxn>
              </a:cxnLst>
              <a:rect l="l" t="t" r="r" b="b"/>
              <a:pathLst>
                <a:path w="1447027" h="1447027">
                  <a:moveTo>
                    <a:pt x="0" y="0"/>
                  </a:moveTo>
                  <a:cubicBezTo>
                    <a:pt x="799171" y="0"/>
                    <a:pt x="1447027" y="647856"/>
                    <a:pt x="1447027" y="1447027"/>
                  </a:cubicBezTo>
                  <a:lnTo>
                    <a:pt x="0" y="1447027"/>
                  </a:lnTo>
                  <a:lnTo>
                    <a:pt x="0" y="0"/>
                  </a:lnTo>
                  <a:close/>
                </a:path>
              </a:pathLst>
            </a:custGeom>
            <a:solidFill>
              <a:srgbClr val="247C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 name="Freeform 33"/>
            <p:cNvSpPr>
              <a:spLocks noEditPoints="1"/>
            </p:cNvSpPr>
            <p:nvPr/>
          </p:nvSpPr>
          <p:spPr bwMode="auto">
            <a:xfrm>
              <a:off x="6402655" y="4410523"/>
              <a:ext cx="412423" cy="387334"/>
            </a:xfrm>
            <a:custGeom>
              <a:avLst/>
              <a:gdLst>
                <a:gd name="T0" fmla="*/ 21 w 643"/>
                <a:gd name="T1" fmla="*/ 477 h 603"/>
                <a:gd name="T2" fmla="*/ 459 w 643"/>
                <a:gd name="T3" fmla="*/ 359 h 603"/>
                <a:gd name="T4" fmla="*/ 420 w 643"/>
                <a:gd name="T5" fmla="*/ 494 h 603"/>
                <a:gd name="T6" fmla="*/ 407 w 643"/>
                <a:gd name="T7" fmla="*/ 377 h 603"/>
                <a:gd name="T8" fmla="*/ 408 w 643"/>
                <a:gd name="T9" fmla="*/ 272 h 603"/>
                <a:gd name="T10" fmla="*/ 397 w 643"/>
                <a:gd name="T11" fmla="*/ 276 h 603"/>
                <a:gd name="T12" fmla="*/ 405 w 643"/>
                <a:gd name="T13" fmla="*/ 292 h 603"/>
                <a:gd name="T14" fmla="*/ 415 w 643"/>
                <a:gd name="T15" fmla="*/ 288 h 603"/>
                <a:gd name="T16" fmla="*/ 356 w 643"/>
                <a:gd name="T17" fmla="*/ 302 h 603"/>
                <a:gd name="T18" fmla="*/ 360 w 643"/>
                <a:gd name="T19" fmla="*/ 322 h 603"/>
                <a:gd name="T20" fmla="*/ 368 w 643"/>
                <a:gd name="T21" fmla="*/ 315 h 603"/>
                <a:gd name="T22" fmla="*/ 324 w 643"/>
                <a:gd name="T23" fmla="*/ 341 h 603"/>
                <a:gd name="T24" fmla="*/ 319 w 643"/>
                <a:gd name="T25" fmla="*/ 351 h 603"/>
                <a:gd name="T26" fmla="*/ 335 w 643"/>
                <a:gd name="T27" fmla="*/ 359 h 603"/>
                <a:gd name="T28" fmla="*/ 340 w 643"/>
                <a:gd name="T29" fmla="*/ 349 h 603"/>
                <a:gd name="T30" fmla="*/ 305 w 643"/>
                <a:gd name="T31" fmla="*/ 399 h 603"/>
                <a:gd name="T32" fmla="*/ 322 w 643"/>
                <a:gd name="T33" fmla="*/ 411 h 603"/>
                <a:gd name="T34" fmla="*/ 323 w 643"/>
                <a:gd name="T35" fmla="*/ 400 h 603"/>
                <a:gd name="T36" fmla="*/ 308 w 643"/>
                <a:gd name="T37" fmla="*/ 450 h 603"/>
                <a:gd name="T38" fmla="*/ 311 w 643"/>
                <a:gd name="T39" fmla="*/ 461 h 603"/>
                <a:gd name="T40" fmla="*/ 327 w 643"/>
                <a:gd name="T41" fmla="*/ 455 h 603"/>
                <a:gd name="T42" fmla="*/ 324 w 643"/>
                <a:gd name="T43" fmla="*/ 444 h 603"/>
                <a:gd name="T44" fmla="*/ 332 w 643"/>
                <a:gd name="T45" fmla="*/ 505 h 603"/>
                <a:gd name="T46" fmla="*/ 353 w 643"/>
                <a:gd name="T47" fmla="*/ 503 h 603"/>
                <a:gd name="T48" fmla="*/ 346 w 643"/>
                <a:gd name="T49" fmla="*/ 495 h 603"/>
                <a:gd name="T50" fmla="*/ 367 w 643"/>
                <a:gd name="T51" fmla="*/ 541 h 603"/>
                <a:gd name="T52" fmla="*/ 377 w 643"/>
                <a:gd name="T53" fmla="*/ 547 h 603"/>
                <a:gd name="T54" fmla="*/ 386 w 643"/>
                <a:gd name="T55" fmla="*/ 532 h 603"/>
                <a:gd name="T56" fmla="*/ 377 w 643"/>
                <a:gd name="T57" fmla="*/ 526 h 603"/>
                <a:gd name="T58" fmla="*/ 423 w 643"/>
                <a:gd name="T59" fmla="*/ 566 h 603"/>
                <a:gd name="T60" fmla="*/ 434 w 643"/>
                <a:gd name="T61" fmla="*/ 568 h 603"/>
                <a:gd name="T62" fmla="*/ 427 w 643"/>
                <a:gd name="T63" fmla="*/ 549 h 603"/>
                <a:gd name="T64" fmla="*/ 472 w 643"/>
                <a:gd name="T65" fmla="*/ 569 h 603"/>
                <a:gd name="T66" fmla="*/ 484 w 643"/>
                <a:gd name="T67" fmla="*/ 568 h 603"/>
                <a:gd name="T68" fmla="*/ 483 w 643"/>
                <a:gd name="T69" fmla="*/ 550 h 603"/>
                <a:gd name="T70" fmla="*/ 472 w 643"/>
                <a:gd name="T71" fmla="*/ 552 h 603"/>
                <a:gd name="T72" fmla="*/ 530 w 643"/>
                <a:gd name="T73" fmla="*/ 551 h 603"/>
                <a:gd name="T74" fmla="*/ 540 w 643"/>
                <a:gd name="T75" fmla="*/ 545 h 603"/>
                <a:gd name="T76" fmla="*/ 524 w 643"/>
                <a:gd name="T77" fmla="*/ 535 h 603"/>
                <a:gd name="T78" fmla="*/ 570 w 643"/>
                <a:gd name="T79" fmla="*/ 521 h 603"/>
                <a:gd name="T80" fmla="*/ 577 w 643"/>
                <a:gd name="T81" fmla="*/ 512 h 603"/>
                <a:gd name="T82" fmla="*/ 565 w 643"/>
                <a:gd name="T83" fmla="*/ 499 h 603"/>
                <a:gd name="T84" fmla="*/ 559 w 643"/>
                <a:gd name="T85" fmla="*/ 507 h 603"/>
                <a:gd name="T86" fmla="*/ 601 w 643"/>
                <a:gd name="T87" fmla="*/ 469 h 603"/>
                <a:gd name="T88" fmla="*/ 605 w 643"/>
                <a:gd name="T89" fmla="*/ 457 h 603"/>
                <a:gd name="T90" fmla="*/ 586 w 643"/>
                <a:gd name="T91" fmla="*/ 459 h 603"/>
                <a:gd name="T92" fmla="*/ 610 w 643"/>
                <a:gd name="T93" fmla="*/ 419 h 603"/>
                <a:gd name="T94" fmla="*/ 610 w 643"/>
                <a:gd name="T95" fmla="*/ 408 h 603"/>
                <a:gd name="T96" fmla="*/ 592 w 643"/>
                <a:gd name="T97" fmla="*/ 406 h 603"/>
                <a:gd name="T98" fmla="*/ 593 w 643"/>
                <a:gd name="T99" fmla="*/ 417 h 603"/>
                <a:gd name="T100" fmla="*/ 599 w 643"/>
                <a:gd name="T101" fmla="*/ 358 h 603"/>
                <a:gd name="T102" fmla="*/ 594 w 643"/>
                <a:gd name="T103" fmla="*/ 347 h 603"/>
                <a:gd name="T104" fmla="*/ 581 w 643"/>
                <a:gd name="T105" fmla="*/ 363 h 603"/>
                <a:gd name="T106" fmla="*/ 573 w 643"/>
                <a:gd name="T107" fmla="*/ 316 h 603"/>
                <a:gd name="T108" fmla="*/ 565 w 643"/>
                <a:gd name="T109" fmla="*/ 308 h 603"/>
                <a:gd name="T110" fmla="*/ 550 w 643"/>
                <a:gd name="T111" fmla="*/ 318 h 603"/>
                <a:gd name="T112" fmla="*/ 557 w 643"/>
                <a:gd name="T113" fmla="*/ 326 h 603"/>
                <a:gd name="T114" fmla="*/ 524 w 643"/>
                <a:gd name="T115" fmla="*/ 279 h 603"/>
                <a:gd name="T116" fmla="*/ 513 w 643"/>
                <a:gd name="T117" fmla="*/ 274 h 603"/>
                <a:gd name="T118" fmla="*/ 513 w 643"/>
                <a:gd name="T119" fmla="*/ 293 h 603"/>
                <a:gd name="T120" fmla="*/ 457 w 643"/>
                <a:gd name="T121" fmla="*/ 231 h 603"/>
                <a:gd name="T122" fmla="*/ 358 w 643"/>
                <a:gd name="T123" fmla="*/ 9 h 603"/>
                <a:gd name="T124" fmla="*/ 30 w 643"/>
                <a:gd name="T125" fmla="*/ 153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603">
                  <a:moveTo>
                    <a:pt x="51" y="448"/>
                  </a:moveTo>
                  <a:cubicBezTo>
                    <a:pt x="83" y="445"/>
                    <a:pt x="115" y="443"/>
                    <a:pt x="147" y="442"/>
                  </a:cubicBezTo>
                  <a:cubicBezTo>
                    <a:pt x="127" y="440"/>
                    <a:pt x="108" y="439"/>
                    <a:pt x="88" y="436"/>
                  </a:cubicBezTo>
                  <a:cubicBezTo>
                    <a:pt x="72" y="435"/>
                    <a:pt x="59" y="423"/>
                    <a:pt x="59" y="407"/>
                  </a:cubicBezTo>
                  <a:cubicBezTo>
                    <a:pt x="59" y="383"/>
                    <a:pt x="59" y="359"/>
                    <a:pt x="59" y="335"/>
                  </a:cubicBezTo>
                  <a:cubicBezTo>
                    <a:pt x="59" y="318"/>
                    <a:pt x="72" y="306"/>
                    <a:pt x="88" y="305"/>
                  </a:cubicBezTo>
                  <a:cubicBezTo>
                    <a:pt x="148" y="299"/>
                    <a:pt x="207" y="297"/>
                    <a:pt x="267" y="298"/>
                  </a:cubicBezTo>
                  <a:cubicBezTo>
                    <a:pt x="245" y="333"/>
                    <a:pt x="233" y="373"/>
                    <a:pt x="233" y="417"/>
                  </a:cubicBezTo>
                  <a:cubicBezTo>
                    <a:pt x="233" y="479"/>
                    <a:pt x="258" y="535"/>
                    <a:pt x="299" y="575"/>
                  </a:cubicBezTo>
                  <a:cubicBezTo>
                    <a:pt x="301" y="578"/>
                    <a:pt x="304" y="581"/>
                    <a:pt x="306" y="583"/>
                  </a:cubicBezTo>
                  <a:cubicBezTo>
                    <a:pt x="221" y="590"/>
                    <a:pt x="136" y="588"/>
                    <a:pt x="51" y="579"/>
                  </a:cubicBezTo>
                  <a:cubicBezTo>
                    <a:pt x="35" y="578"/>
                    <a:pt x="21" y="566"/>
                    <a:pt x="21" y="549"/>
                  </a:cubicBezTo>
                  <a:cubicBezTo>
                    <a:pt x="21" y="526"/>
                    <a:pt x="21" y="501"/>
                    <a:pt x="21" y="477"/>
                  </a:cubicBezTo>
                  <a:cubicBezTo>
                    <a:pt x="21" y="461"/>
                    <a:pt x="35" y="449"/>
                    <a:pt x="51" y="448"/>
                  </a:cubicBezTo>
                  <a:close/>
                  <a:moveTo>
                    <a:pt x="442" y="265"/>
                  </a:moveTo>
                  <a:lnTo>
                    <a:pt x="442" y="265"/>
                  </a:lnTo>
                  <a:cubicBezTo>
                    <a:pt x="454" y="263"/>
                    <a:pt x="467" y="262"/>
                    <a:pt x="479" y="265"/>
                  </a:cubicBezTo>
                  <a:cubicBezTo>
                    <a:pt x="478" y="271"/>
                    <a:pt x="478" y="278"/>
                    <a:pt x="477" y="284"/>
                  </a:cubicBezTo>
                  <a:cubicBezTo>
                    <a:pt x="466" y="283"/>
                    <a:pt x="455" y="283"/>
                    <a:pt x="444" y="284"/>
                  </a:cubicBezTo>
                  <a:cubicBezTo>
                    <a:pt x="443" y="278"/>
                    <a:pt x="443" y="271"/>
                    <a:pt x="442" y="265"/>
                  </a:cubicBezTo>
                  <a:close/>
                  <a:moveTo>
                    <a:pt x="510" y="384"/>
                  </a:moveTo>
                  <a:lnTo>
                    <a:pt x="510" y="384"/>
                  </a:lnTo>
                  <a:lnTo>
                    <a:pt x="467" y="384"/>
                  </a:lnTo>
                  <a:lnTo>
                    <a:pt x="467" y="377"/>
                  </a:lnTo>
                  <a:cubicBezTo>
                    <a:pt x="467" y="369"/>
                    <a:pt x="466" y="364"/>
                    <a:pt x="465" y="362"/>
                  </a:cubicBezTo>
                  <a:cubicBezTo>
                    <a:pt x="464" y="360"/>
                    <a:pt x="462" y="359"/>
                    <a:pt x="459" y="359"/>
                  </a:cubicBezTo>
                  <a:cubicBezTo>
                    <a:pt x="456" y="359"/>
                    <a:pt x="454" y="359"/>
                    <a:pt x="453" y="362"/>
                  </a:cubicBezTo>
                  <a:cubicBezTo>
                    <a:pt x="452" y="364"/>
                    <a:pt x="451" y="367"/>
                    <a:pt x="451" y="371"/>
                  </a:cubicBezTo>
                  <a:cubicBezTo>
                    <a:pt x="451" y="377"/>
                    <a:pt x="452" y="382"/>
                    <a:pt x="455" y="385"/>
                  </a:cubicBezTo>
                  <a:cubicBezTo>
                    <a:pt x="458" y="388"/>
                    <a:pt x="466" y="393"/>
                    <a:pt x="478" y="401"/>
                  </a:cubicBezTo>
                  <a:cubicBezTo>
                    <a:pt x="489" y="407"/>
                    <a:pt x="497" y="413"/>
                    <a:pt x="501" y="416"/>
                  </a:cubicBezTo>
                  <a:cubicBezTo>
                    <a:pt x="505" y="420"/>
                    <a:pt x="508" y="425"/>
                    <a:pt x="511" y="431"/>
                  </a:cubicBezTo>
                  <a:cubicBezTo>
                    <a:pt x="514" y="437"/>
                    <a:pt x="515" y="445"/>
                    <a:pt x="515" y="455"/>
                  </a:cubicBezTo>
                  <a:cubicBezTo>
                    <a:pt x="515" y="471"/>
                    <a:pt x="512" y="483"/>
                    <a:pt x="504" y="491"/>
                  </a:cubicBezTo>
                  <a:cubicBezTo>
                    <a:pt x="497" y="500"/>
                    <a:pt x="485" y="506"/>
                    <a:pt x="471" y="508"/>
                  </a:cubicBezTo>
                  <a:lnTo>
                    <a:pt x="471" y="524"/>
                  </a:lnTo>
                  <a:lnTo>
                    <a:pt x="451" y="524"/>
                  </a:lnTo>
                  <a:lnTo>
                    <a:pt x="451" y="507"/>
                  </a:lnTo>
                  <a:cubicBezTo>
                    <a:pt x="439" y="506"/>
                    <a:pt x="429" y="502"/>
                    <a:pt x="420" y="494"/>
                  </a:cubicBezTo>
                  <a:cubicBezTo>
                    <a:pt x="412" y="486"/>
                    <a:pt x="407" y="473"/>
                    <a:pt x="407" y="453"/>
                  </a:cubicBezTo>
                  <a:lnTo>
                    <a:pt x="407" y="445"/>
                  </a:lnTo>
                  <a:lnTo>
                    <a:pt x="451" y="445"/>
                  </a:lnTo>
                  <a:lnTo>
                    <a:pt x="451" y="456"/>
                  </a:lnTo>
                  <a:cubicBezTo>
                    <a:pt x="451" y="467"/>
                    <a:pt x="451" y="474"/>
                    <a:pt x="452" y="477"/>
                  </a:cubicBezTo>
                  <a:cubicBezTo>
                    <a:pt x="453" y="480"/>
                    <a:pt x="455" y="481"/>
                    <a:pt x="458" y="481"/>
                  </a:cubicBezTo>
                  <a:cubicBezTo>
                    <a:pt x="461" y="481"/>
                    <a:pt x="464" y="480"/>
                    <a:pt x="465" y="478"/>
                  </a:cubicBezTo>
                  <a:cubicBezTo>
                    <a:pt x="466" y="476"/>
                    <a:pt x="467" y="473"/>
                    <a:pt x="467" y="470"/>
                  </a:cubicBezTo>
                  <a:cubicBezTo>
                    <a:pt x="467" y="460"/>
                    <a:pt x="466" y="453"/>
                    <a:pt x="465" y="449"/>
                  </a:cubicBezTo>
                  <a:cubicBezTo>
                    <a:pt x="464" y="445"/>
                    <a:pt x="459" y="440"/>
                    <a:pt x="451" y="435"/>
                  </a:cubicBezTo>
                  <a:cubicBezTo>
                    <a:pt x="438" y="427"/>
                    <a:pt x="429" y="421"/>
                    <a:pt x="424" y="417"/>
                  </a:cubicBezTo>
                  <a:cubicBezTo>
                    <a:pt x="420" y="413"/>
                    <a:pt x="415" y="408"/>
                    <a:pt x="412" y="401"/>
                  </a:cubicBezTo>
                  <a:cubicBezTo>
                    <a:pt x="408" y="393"/>
                    <a:pt x="407" y="385"/>
                    <a:pt x="407" y="377"/>
                  </a:cubicBezTo>
                  <a:cubicBezTo>
                    <a:pt x="407" y="364"/>
                    <a:pt x="410" y="354"/>
                    <a:pt x="418" y="346"/>
                  </a:cubicBezTo>
                  <a:cubicBezTo>
                    <a:pt x="425" y="339"/>
                    <a:pt x="436" y="334"/>
                    <a:pt x="451" y="333"/>
                  </a:cubicBezTo>
                  <a:lnTo>
                    <a:pt x="451" y="319"/>
                  </a:lnTo>
                  <a:lnTo>
                    <a:pt x="471" y="319"/>
                  </a:lnTo>
                  <a:lnTo>
                    <a:pt x="471" y="333"/>
                  </a:lnTo>
                  <a:cubicBezTo>
                    <a:pt x="484" y="334"/>
                    <a:pt x="494" y="339"/>
                    <a:pt x="501" y="346"/>
                  </a:cubicBezTo>
                  <a:cubicBezTo>
                    <a:pt x="507" y="353"/>
                    <a:pt x="511" y="363"/>
                    <a:pt x="511" y="376"/>
                  </a:cubicBezTo>
                  <a:cubicBezTo>
                    <a:pt x="511" y="378"/>
                    <a:pt x="510" y="381"/>
                    <a:pt x="510" y="384"/>
                  </a:cubicBezTo>
                  <a:close/>
                  <a:moveTo>
                    <a:pt x="411" y="271"/>
                  </a:moveTo>
                  <a:lnTo>
                    <a:pt x="411" y="271"/>
                  </a:lnTo>
                  <a:lnTo>
                    <a:pt x="410" y="271"/>
                  </a:lnTo>
                  <a:lnTo>
                    <a:pt x="409" y="271"/>
                  </a:lnTo>
                  <a:lnTo>
                    <a:pt x="408" y="272"/>
                  </a:lnTo>
                  <a:lnTo>
                    <a:pt x="407" y="272"/>
                  </a:lnTo>
                  <a:lnTo>
                    <a:pt x="406" y="272"/>
                  </a:lnTo>
                  <a:lnTo>
                    <a:pt x="405" y="273"/>
                  </a:lnTo>
                  <a:lnTo>
                    <a:pt x="405" y="273"/>
                  </a:lnTo>
                  <a:lnTo>
                    <a:pt x="404" y="273"/>
                  </a:lnTo>
                  <a:lnTo>
                    <a:pt x="403" y="274"/>
                  </a:lnTo>
                  <a:lnTo>
                    <a:pt x="402" y="274"/>
                  </a:lnTo>
                  <a:lnTo>
                    <a:pt x="401" y="274"/>
                  </a:lnTo>
                  <a:lnTo>
                    <a:pt x="400" y="275"/>
                  </a:lnTo>
                  <a:lnTo>
                    <a:pt x="399" y="275"/>
                  </a:lnTo>
                  <a:lnTo>
                    <a:pt x="398" y="275"/>
                  </a:lnTo>
                  <a:lnTo>
                    <a:pt x="398" y="276"/>
                  </a:lnTo>
                  <a:lnTo>
                    <a:pt x="397" y="276"/>
                  </a:lnTo>
                  <a:lnTo>
                    <a:pt x="396" y="277"/>
                  </a:lnTo>
                  <a:lnTo>
                    <a:pt x="395" y="277"/>
                  </a:lnTo>
                  <a:lnTo>
                    <a:pt x="394" y="277"/>
                  </a:lnTo>
                  <a:lnTo>
                    <a:pt x="393" y="278"/>
                  </a:lnTo>
                  <a:lnTo>
                    <a:pt x="393" y="278"/>
                  </a:lnTo>
                  <a:lnTo>
                    <a:pt x="401" y="294"/>
                  </a:lnTo>
                  <a:lnTo>
                    <a:pt x="401" y="294"/>
                  </a:lnTo>
                  <a:lnTo>
                    <a:pt x="401" y="293"/>
                  </a:lnTo>
                  <a:lnTo>
                    <a:pt x="402" y="293"/>
                  </a:lnTo>
                  <a:lnTo>
                    <a:pt x="403" y="293"/>
                  </a:lnTo>
                  <a:lnTo>
                    <a:pt x="404" y="292"/>
                  </a:lnTo>
                  <a:lnTo>
                    <a:pt x="404" y="292"/>
                  </a:lnTo>
                  <a:lnTo>
                    <a:pt x="405" y="292"/>
                  </a:lnTo>
                  <a:lnTo>
                    <a:pt x="406" y="291"/>
                  </a:lnTo>
                  <a:lnTo>
                    <a:pt x="407" y="291"/>
                  </a:lnTo>
                  <a:lnTo>
                    <a:pt x="407" y="291"/>
                  </a:lnTo>
                  <a:lnTo>
                    <a:pt x="408" y="290"/>
                  </a:lnTo>
                  <a:lnTo>
                    <a:pt x="409" y="290"/>
                  </a:lnTo>
                  <a:lnTo>
                    <a:pt x="410" y="290"/>
                  </a:lnTo>
                  <a:lnTo>
                    <a:pt x="411" y="290"/>
                  </a:lnTo>
                  <a:lnTo>
                    <a:pt x="411" y="289"/>
                  </a:lnTo>
                  <a:lnTo>
                    <a:pt x="412" y="289"/>
                  </a:lnTo>
                  <a:lnTo>
                    <a:pt x="413" y="289"/>
                  </a:lnTo>
                  <a:lnTo>
                    <a:pt x="414" y="288"/>
                  </a:lnTo>
                  <a:lnTo>
                    <a:pt x="414" y="288"/>
                  </a:lnTo>
                  <a:lnTo>
                    <a:pt x="415" y="288"/>
                  </a:lnTo>
                  <a:lnTo>
                    <a:pt x="416" y="288"/>
                  </a:lnTo>
                  <a:lnTo>
                    <a:pt x="411" y="271"/>
                  </a:lnTo>
                  <a:close/>
                  <a:moveTo>
                    <a:pt x="361" y="297"/>
                  </a:moveTo>
                  <a:lnTo>
                    <a:pt x="361" y="297"/>
                  </a:lnTo>
                  <a:lnTo>
                    <a:pt x="361" y="297"/>
                  </a:lnTo>
                  <a:lnTo>
                    <a:pt x="360" y="298"/>
                  </a:lnTo>
                  <a:lnTo>
                    <a:pt x="360" y="299"/>
                  </a:lnTo>
                  <a:lnTo>
                    <a:pt x="359" y="299"/>
                  </a:lnTo>
                  <a:lnTo>
                    <a:pt x="358" y="300"/>
                  </a:lnTo>
                  <a:lnTo>
                    <a:pt x="358" y="300"/>
                  </a:lnTo>
                  <a:lnTo>
                    <a:pt x="357" y="301"/>
                  </a:lnTo>
                  <a:lnTo>
                    <a:pt x="356" y="302"/>
                  </a:lnTo>
                  <a:lnTo>
                    <a:pt x="356" y="302"/>
                  </a:lnTo>
                  <a:lnTo>
                    <a:pt x="355" y="303"/>
                  </a:lnTo>
                  <a:lnTo>
                    <a:pt x="354" y="304"/>
                  </a:lnTo>
                  <a:lnTo>
                    <a:pt x="354" y="304"/>
                  </a:lnTo>
                  <a:lnTo>
                    <a:pt x="353" y="305"/>
                  </a:lnTo>
                  <a:lnTo>
                    <a:pt x="352" y="305"/>
                  </a:lnTo>
                  <a:lnTo>
                    <a:pt x="352" y="306"/>
                  </a:lnTo>
                  <a:lnTo>
                    <a:pt x="351" y="307"/>
                  </a:lnTo>
                  <a:lnTo>
                    <a:pt x="350" y="307"/>
                  </a:lnTo>
                  <a:lnTo>
                    <a:pt x="350" y="308"/>
                  </a:lnTo>
                  <a:lnTo>
                    <a:pt x="349" y="309"/>
                  </a:lnTo>
                  <a:lnTo>
                    <a:pt x="348" y="309"/>
                  </a:lnTo>
                  <a:lnTo>
                    <a:pt x="348" y="310"/>
                  </a:lnTo>
                  <a:lnTo>
                    <a:pt x="360" y="322"/>
                  </a:lnTo>
                  <a:lnTo>
                    <a:pt x="361" y="322"/>
                  </a:lnTo>
                  <a:lnTo>
                    <a:pt x="361" y="321"/>
                  </a:lnTo>
                  <a:lnTo>
                    <a:pt x="362" y="320"/>
                  </a:lnTo>
                  <a:lnTo>
                    <a:pt x="363" y="320"/>
                  </a:lnTo>
                  <a:lnTo>
                    <a:pt x="363" y="319"/>
                  </a:lnTo>
                  <a:lnTo>
                    <a:pt x="364" y="319"/>
                  </a:lnTo>
                  <a:lnTo>
                    <a:pt x="364" y="318"/>
                  </a:lnTo>
                  <a:lnTo>
                    <a:pt x="365" y="318"/>
                  </a:lnTo>
                  <a:lnTo>
                    <a:pt x="365" y="317"/>
                  </a:lnTo>
                  <a:lnTo>
                    <a:pt x="366" y="317"/>
                  </a:lnTo>
                  <a:lnTo>
                    <a:pt x="367" y="316"/>
                  </a:lnTo>
                  <a:lnTo>
                    <a:pt x="367" y="315"/>
                  </a:lnTo>
                  <a:lnTo>
                    <a:pt x="368" y="315"/>
                  </a:lnTo>
                  <a:lnTo>
                    <a:pt x="368" y="314"/>
                  </a:lnTo>
                  <a:lnTo>
                    <a:pt x="369" y="314"/>
                  </a:lnTo>
                  <a:lnTo>
                    <a:pt x="370" y="313"/>
                  </a:lnTo>
                  <a:lnTo>
                    <a:pt x="370" y="313"/>
                  </a:lnTo>
                  <a:lnTo>
                    <a:pt x="371" y="312"/>
                  </a:lnTo>
                  <a:lnTo>
                    <a:pt x="372" y="312"/>
                  </a:lnTo>
                  <a:lnTo>
                    <a:pt x="372" y="311"/>
                  </a:lnTo>
                  <a:lnTo>
                    <a:pt x="373" y="311"/>
                  </a:lnTo>
                  <a:lnTo>
                    <a:pt x="361" y="297"/>
                  </a:lnTo>
                  <a:close/>
                  <a:moveTo>
                    <a:pt x="325" y="339"/>
                  </a:moveTo>
                  <a:lnTo>
                    <a:pt x="325" y="339"/>
                  </a:lnTo>
                  <a:lnTo>
                    <a:pt x="325" y="340"/>
                  </a:lnTo>
                  <a:lnTo>
                    <a:pt x="324" y="341"/>
                  </a:lnTo>
                  <a:lnTo>
                    <a:pt x="324" y="341"/>
                  </a:lnTo>
                  <a:lnTo>
                    <a:pt x="323" y="342"/>
                  </a:lnTo>
                  <a:lnTo>
                    <a:pt x="323" y="343"/>
                  </a:lnTo>
                  <a:lnTo>
                    <a:pt x="323" y="344"/>
                  </a:lnTo>
                  <a:lnTo>
                    <a:pt x="322" y="345"/>
                  </a:lnTo>
                  <a:lnTo>
                    <a:pt x="322" y="345"/>
                  </a:lnTo>
                  <a:lnTo>
                    <a:pt x="321" y="346"/>
                  </a:lnTo>
                  <a:lnTo>
                    <a:pt x="321" y="347"/>
                  </a:lnTo>
                  <a:lnTo>
                    <a:pt x="320" y="348"/>
                  </a:lnTo>
                  <a:lnTo>
                    <a:pt x="320" y="349"/>
                  </a:lnTo>
                  <a:lnTo>
                    <a:pt x="320" y="350"/>
                  </a:lnTo>
                  <a:lnTo>
                    <a:pt x="319" y="350"/>
                  </a:lnTo>
                  <a:lnTo>
                    <a:pt x="319" y="351"/>
                  </a:lnTo>
                  <a:lnTo>
                    <a:pt x="318" y="352"/>
                  </a:lnTo>
                  <a:lnTo>
                    <a:pt x="318" y="353"/>
                  </a:lnTo>
                  <a:lnTo>
                    <a:pt x="318" y="354"/>
                  </a:lnTo>
                  <a:lnTo>
                    <a:pt x="317" y="355"/>
                  </a:lnTo>
                  <a:lnTo>
                    <a:pt x="317" y="356"/>
                  </a:lnTo>
                  <a:lnTo>
                    <a:pt x="317" y="356"/>
                  </a:lnTo>
                  <a:lnTo>
                    <a:pt x="333" y="363"/>
                  </a:lnTo>
                  <a:lnTo>
                    <a:pt x="333" y="363"/>
                  </a:lnTo>
                  <a:lnTo>
                    <a:pt x="333" y="362"/>
                  </a:lnTo>
                  <a:lnTo>
                    <a:pt x="334" y="361"/>
                  </a:lnTo>
                  <a:lnTo>
                    <a:pt x="334" y="360"/>
                  </a:lnTo>
                  <a:lnTo>
                    <a:pt x="334" y="360"/>
                  </a:lnTo>
                  <a:lnTo>
                    <a:pt x="335" y="359"/>
                  </a:lnTo>
                  <a:lnTo>
                    <a:pt x="335" y="358"/>
                  </a:lnTo>
                  <a:lnTo>
                    <a:pt x="335" y="357"/>
                  </a:lnTo>
                  <a:lnTo>
                    <a:pt x="336" y="357"/>
                  </a:lnTo>
                  <a:lnTo>
                    <a:pt x="336" y="356"/>
                  </a:lnTo>
                  <a:lnTo>
                    <a:pt x="336" y="355"/>
                  </a:lnTo>
                  <a:lnTo>
                    <a:pt x="337" y="354"/>
                  </a:lnTo>
                  <a:lnTo>
                    <a:pt x="337" y="354"/>
                  </a:lnTo>
                  <a:lnTo>
                    <a:pt x="338" y="353"/>
                  </a:lnTo>
                  <a:lnTo>
                    <a:pt x="338" y="352"/>
                  </a:lnTo>
                  <a:lnTo>
                    <a:pt x="338" y="351"/>
                  </a:lnTo>
                  <a:lnTo>
                    <a:pt x="339" y="351"/>
                  </a:lnTo>
                  <a:lnTo>
                    <a:pt x="339" y="350"/>
                  </a:lnTo>
                  <a:lnTo>
                    <a:pt x="340" y="349"/>
                  </a:lnTo>
                  <a:lnTo>
                    <a:pt x="340" y="349"/>
                  </a:lnTo>
                  <a:lnTo>
                    <a:pt x="340" y="348"/>
                  </a:lnTo>
                  <a:lnTo>
                    <a:pt x="325" y="339"/>
                  </a:lnTo>
                  <a:close/>
                  <a:moveTo>
                    <a:pt x="306" y="392"/>
                  </a:moveTo>
                  <a:lnTo>
                    <a:pt x="306" y="392"/>
                  </a:lnTo>
                  <a:lnTo>
                    <a:pt x="306" y="393"/>
                  </a:lnTo>
                  <a:lnTo>
                    <a:pt x="306" y="394"/>
                  </a:lnTo>
                  <a:lnTo>
                    <a:pt x="306" y="394"/>
                  </a:lnTo>
                  <a:lnTo>
                    <a:pt x="306" y="395"/>
                  </a:lnTo>
                  <a:lnTo>
                    <a:pt x="305" y="396"/>
                  </a:lnTo>
                  <a:lnTo>
                    <a:pt x="305" y="397"/>
                  </a:lnTo>
                  <a:lnTo>
                    <a:pt x="305" y="398"/>
                  </a:lnTo>
                  <a:lnTo>
                    <a:pt x="305" y="399"/>
                  </a:lnTo>
                  <a:lnTo>
                    <a:pt x="305" y="400"/>
                  </a:lnTo>
                  <a:lnTo>
                    <a:pt x="305" y="401"/>
                  </a:lnTo>
                  <a:lnTo>
                    <a:pt x="305" y="402"/>
                  </a:lnTo>
                  <a:lnTo>
                    <a:pt x="305" y="403"/>
                  </a:lnTo>
                  <a:lnTo>
                    <a:pt x="305" y="404"/>
                  </a:lnTo>
                  <a:lnTo>
                    <a:pt x="304" y="405"/>
                  </a:lnTo>
                  <a:lnTo>
                    <a:pt x="304" y="406"/>
                  </a:lnTo>
                  <a:lnTo>
                    <a:pt x="304" y="407"/>
                  </a:lnTo>
                  <a:lnTo>
                    <a:pt x="304" y="408"/>
                  </a:lnTo>
                  <a:lnTo>
                    <a:pt x="304" y="409"/>
                  </a:lnTo>
                  <a:lnTo>
                    <a:pt x="304" y="410"/>
                  </a:lnTo>
                  <a:lnTo>
                    <a:pt x="304" y="410"/>
                  </a:lnTo>
                  <a:lnTo>
                    <a:pt x="322" y="411"/>
                  </a:lnTo>
                  <a:lnTo>
                    <a:pt x="322" y="411"/>
                  </a:lnTo>
                  <a:lnTo>
                    <a:pt x="322" y="410"/>
                  </a:lnTo>
                  <a:lnTo>
                    <a:pt x="322" y="409"/>
                  </a:lnTo>
                  <a:lnTo>
                    <a:pt x="322" y="408"/>
                  </a:lnTo>
                  <a:lnTo>
                    <a:pt x="322" y="407"/>
                  </a:lnTo>
                  <a:lnTo>
                    <a:pt x="322" y="406"/>
                  </a:lnTo>
                  <a:lnTo>
                    <a:pt x="322" y="406"/>
                  </a:lnTo>
                  <a:lnTo>
                    <a:pt x="322" y="405"/>
                  </a:lnTo>
                  <a:lnTo>
                    <a:pt x="322" y="404"/>
                  </a:lnTo>
                  <a:lnTo>
                    <a:pt x="322" y="403"/>
                  </a:lnTo>
                  <a:lnTo>
                    <a:pt x="322" y="402"/>
                  </a:lnTo>
                  <a:lnTo>
                    <a:pt x="323" y="401"/>
                  </a:lnTo>
                  <a:lnTo>
                    <a:pt x="323" y="400"/>
                  </a:lnTo>
                  <a:lnTo>
                    <a:pt x="323" y="400"/>
                  </a:lnTo>
                  <a:lnTo>
                    <a:pt x="323" y="399"/>
                  </a:lnTo>
                  <a:lnTo>
                    <a:pt x="323" y="398"/>
                  </a:lnTo>
                  <a:lnTo>
                    <a:pt x="323" y="397"/>
                  </a:lnTo>
                  <a:lnTo>
                    <a:pt x="323" y="396"/>
                  </a:lnTo>
                  <a:lnTo>
                    <a:pt x="323" y="395"/>
                  </a:lnTo>
                  <a:lnTo>
                    <a:pt x="323" y="395"/>
                  </a:lnTo>
                  <a:lnTo>
                    <a:pt x="306" y="392"/>
                  </a:lnTo>
                  <a:close/>
                  <a:moveTo>
                    <a:pt x="307" y="447"/>
                  </a:moveTo>
                  <a:lnTo>
                    <a:pt x="307" y="447"/>
                  </a:lnTo>
                  <a:lnTo>
                    <a:pt x="307" y="448"/>
                  </a:lnTo>
                  <a:lnTo>
                    <a:pt x="307" y="449"/>
                  </a:lnTo>
                  <a:lnTo>
                    <a:pt x="308" y="450"/>
                  </a:lnTo>
                  <a:lnTo>
                    <a:pt x="308" y="450"/>
                  </a:lnTo>
                  <a:lnTo>
                    <a:pt x="308" y="451"/>
                  </a:lnTo>
                  <a:lnTo>
                    <a:pt x="308" y="452"/>
                  </a:lnTo>
                  <a:lnTo>
                    <a:pt x="308" y="453"/>
                  </a:lnTo>
                  <a:lnTo>
                    <a:pt x="309" y="454"/>
                  </a:lnTo>
                  <a:lnTo>
                    <a:pt x="309" y="455"/>
                  </a:lnTo>
                  <a:lnTo>
                    <a:pt x="309" y="456"/>
                  </a:lnTo>
                  <a:lnTo>
                    <a:pt x="309" y="457"/>
                  </a:lnTo>
                  <a:lnTo>
                    <a:pt x="310" y="458"/>
                  </a:lnTo>
                  <a:lnTo>
                    <a:pt x="310" y="459"/>
                  </a:lnTo>
                  <a:lnTo>
                    <a:pt x="310" y="460"/>
                  </a:lnTo>
                  <a:lnTo>
                    <a:pt x="310" y="461"/>
                  </a:lnTo>
                  <a:lnTo>
                    <a:pt x="311" y="461"/>
                  </a:lnTo>
                  <a:lnTo>
                    <a:pt x="311" y="462"/>
                  </a:lnTo>
                  <a:lnTo>
                    <a:pt x="311" y="463"/>
                  </a:lnTo>
                  <a:lnTo>
                    <a:pt x="312" y="464"/>
                  </a:lnTo>
                  <a:lnTo>
                    <a:pt x="312" y="465"/>
                  </a:lnTo>
                  <a:lnTo>
                    <a:pt x="312" y="465"/>
                  </a:lnTo>
                  <a:lnTo>
                    <a:pt x="329" y="460"/>
                  </a:lnTo>
                  <a:lnTo>
                    <a:pt x="328" y="459"/>
                  </a:lnTo>
                  <a:lnTo>
                    <a:pt x="328" y="459"/>
                  </a:lnTo>
                  <a:lnTo>
                    <a:pt x="328" y="458"/>
                  </a:lnTo>
                  <a:lnTo>
                    <a:pt x="328" y="457"/>
                  </a:lnTo>
                  <a:lnTo>
                    <a:pt x="328" y="456"/>
                  </a:lnTo>
                  <a:lnTo>
                    <a:pt x="327" y="456"/>
                  </a:lnTo>
                  <a:lnTo>
                    <a:pt x="327" y="455"/>
                  </a:lnTo>
                  <a:lnTo>
                    <a:pt x="327" y="454"/>
                  </a:lnTo>
                  <a:lnTo>
                    <a:pt x="327" y="453"/>
                  </a:lnTo>
                  <a:lnTo>
                    <a:pt x="326" y="452"/>
                  </a:lnTo>
                  <a:lnTo>
                    <a:pt x="326" y="452"/>
                  </a:lnTo>
                  <a:lnTo>
                    <a:pt x="326" y="451"/>
                  </a:lnTo>
                  <a:lnTo>
                    <a:pt x="326" y="450"/>
                  </a:lnTo>
                  <a:lnTo>
                    <a:pt x="325" y="449"/>
                  </a:lnTo>
                  <a:lnTo>
                    <a:pt x="325" y="448"/>
                  </a:lnTo>
                  <a:lnTo>
                    <a:pt x="325" y="447"/>
                  </a:lnTo>
                  <a:lnTo>
                    <a:pt x="325" y="447"/>
                  </a:lnTo>
                  <a:lnTo>
                    <a:pt x="325" y="446"/>
                  </a:lnTo>
                  <a:lnTo>
                    <a:pt x="325" y="445"/>
                  </a:lnTo>
                  <a:lnTo>
                    <a:pt x="324" y="444"/>
                  </a:lnTo>
                  <a:lnTo>
                    <a:pt x="324" y="444"/>
                  </a:lnTo>
                  <a:lnTo>
                    <a:pt x="307" y="447"/>
                  </a:lnTo>
                  <a:close/>
                  <a:moveTo>
                    <a:pt x="328" y="499"/>
                  </a:moveTo>
                  <a:lnTo>
                    <a:pt x="328" y="499"/>
                  </a:lnTo>
                  <a:lnTo>
                    <a:pt x="328" y="499"/>
                  </a:lnTo>
                  <a:lnTo>
                    <a:pt x="329" y="500"/>
                  </a:lnTo>
                  <a:lnTo>
                    <a:pt x="329" y="501"/>
                  </a:lnTo>
                  <a:lnTo>
                    <a:pt x="330" y="502"/>
                  </a:lnTo>
                  <a:lnTo>
                    <a:pt x="330" y="502"/>
                  </a:lnTo>
                  <a:lnTo>
                    <a:pt x="331" y="503"/>
                  </a:lnTo>
                  <a:lnTo>
                    <a:pt x="331" y="504"/>
                  </a:lnTo>
                  <a:lnTo>
                    <a:pt x="332" y="505"/>
                  </a:lnTo>
                  <a:lnTo>
                    <a:pt x="332" y="505"/>
                  </a:lnTo>
                  <a:lnTo>
                    <a:pt x="333" y="506"/>
                  </a:lnTo>
                  <a:lnTo>
                    <a:pt x="333" y="507"/>
                  </a:lnTo>
                  <a:lnTo>
                    <a:pt x="334" y="508"/>
                  </a:lnTo>
                  <a:lnTo>
                    <a:pt x="334" y="508"/>
                  </a:lnTo>
                  <a:lnTo>
                    <a:pt x="335" y="509"/>
                  </a:lnTo>
                  <a:lnTo>
                    <a:pt x="336" y="510"/>
                  </a:lnTo>
                  <a:lnTo>
                    <a:pt x="336" y="511"/>
                  </a:lnTo>
                  <a:lnTo>
                    <a:pt x="337" y="511"/>
                  </a:lnTo>
                  <a:lnTo>
                    <a:pt x="337" y="512"/>
                  </a:lnTo>
                  <a:lnTo>
                    <a:pt x="338" y="513"/>
                  </a:lnTo>
                  <a:lnTo>
                    <a:pt x="338" y="514"/>
                  </a:lnTo>
                  <a:lnTo>
                    <a:pt x="339" y="514"/>
                  </a:lnTo>
                  <a:lnTo>
                    <a:pt x="353" y="503"/>
                  </a:lnTo>
                  <a:lnTo>
                    <a:pt x="352" y="502"/>
                  </a:lnTo>
                  <a:lnTo>
                    <a:pt x="352" y="502"/>
                  </a:lnTo>
                  <a:lnTo>
                    <a:pt x="351" y="501"/>
                  </a:lnTo>
                  <a:lnTo>
                    <a:pt x="351" y="500"/>
                  </a:lnTo>
                  <a:lnTo>
                    <a:pt x="350" y="500"/>
                  </a:lnTo>
                  <a:lnTo>
                    <a:pt x="350" y="499"/>
                  </a:lnTo>
                  <a:lnTo>
                    <a:pt x="349" y="499"/>
                  </a:lnTo>
                  <a:lnTo>
                    <a:pt x="349" y="498"/>
                  </a:lnTo>
                  <a:lnTo>
                    <a:pt x="348" y="497"/>
                  </a:lnTo>
                  <a:lnTo>
                    <a:pt x="348" y="497"/>
                  </a:lnTo>
                  <a:lnTo>
                    <a:pt x="347" y="496"/>
                  </a:lnTo>
                  <a:lnTo>
                    <a:pt x="347" y="495"/>
                  </a:lnTo>
                  <a:lnTo>
                    <a:pt x="346" y="495"/>
                  </a:lnTo>
                  <a:lnTo>
                    <a:pt x="346" y="494"/>
                  </a:lnTo>
                  <a:lnTo>
                    <a:pt x="345" y="493"/>
                  </a:lnTo>
                  <a:lnTo>
                    <a:pt x="345" y="493"/>
                  </a:lnTo>
                  <a:lnTo>
                    <a:pt x="344" y="492"/>
                  </a:lnTo>
                  <a:lnTo>
                    <a:pt x="344" y="491"/>
                  </a:lnTo>
                  <a:lnTo>
                    <a:pt x="343" y="491"/>
                  </a:lnTo>
                  <a:lnTo>
                    <a:pt x="343" y="490"/>
                  </a:lnTo>
                  <a:lnTo>
                    <a:pt x="343" y="490"/>
                  </a:lnTo>
                  <a:lnTo>
                    <a:pt x="328" y="499"/>
                  </a:lnTo>
                  <a:close/>
                  <a:moveTo>
                    <a:pt x="366" y="540"/>
                  </a:moveTo>
                  <a:lnTo>
                    <a:pt x="366" y="540"/>
                  </a:lnTo>
                  <a:lnTo>
                    <a:pt x="366" y="540"/>
                  </a:lnTo>
                  <a:lnTo>
                    <a:pt x="367" y="541"/>
                  </a:lnTo>
                  <a:lnTo>
                    <a:pt x="368" y="541"/>
                  </a:lnTo>
                  <a:lnTo>
                    <a:pt x="369" y="542"/>
                  </a:lnTo>
                  <a:lnTo>
                    <a:pt x="369" y="542"/>
                  </a:lnTo>
                  <a:lnTo>
                    <a:pt x="370" y="543"/>
                  </a:lnTo>
                  <a:lnTo>
                    <a:pt x="371" y="543"/>
                  </a:lnTo>
                  <a:lnTo>
                    <a:pt x="372" y="544"/>
                  </a:lnTo>
                  <a:lnTo>
                    <a:pt x="372" y="544"/>
                  </a:lnTo>
                  <a:lnTo>
                    <a:pt x="373" y="545"/>
                  </a:lnTo>
                  <a:lnTo>
                    <a:pt x="374" y="545"/>
                  </a:lnTo>
                  <a:lnTo>
                    <a:pt x="375" y="546"/>
                  </a:lnTo>
                  <a:lnTo>
                    <a:pt x="375" y="546"/>
                  </a:lnTo>
                  <a:lnTo>
                    <a:pt x="376" y="547"/>
                  </a:lnTo>
                  <a:lnTo>
                    <a:pt x="377" y="547"/>
                  </a:lnTo>
                  <a:lnTo>
                    <a:pt x="378" y="548"/>
                  </a:lnTo>
                  <a:lnTo>
                    <a:pt x="379" y="548"/>
                  </a:lnTo>
                  <a:lnTo>
                    <a:pt x="379" y="549"/>
                  </a:lnTo>
                  <a:lnTo>
                    <a:pt x="380" y="549"/>
                  </a:lnTo>
                  <a:lnTo>
                    <a:pt x="381" y="550"/>
                  </a:lnTo>
                  <a:lnTo>
                    <a:pt x="382" y="550"/>
                  </a:lnTo>
                  <a:lnTo>
                    <a:pt x="390" y="535"/>
                  </a:lnTo>
                  <a:lnTo>
                    <a:pt x="390" y="534"/>
                  </a:lnTo>
                  <a:lnTo>
                    <a:pt x="389" y="534"/>
                  </a:lnTo>
                  <a:lnTo>
                    <a:pt x="388" y="534"/>
                  </a:lnTo>
                  <a:lnTo>
                    <a:pt x="388" y="533"/>
                  </a:lnTo>
                  <a:lnTo>
                    <a:pt x="387" y="533"/>
                  </a:lnTo>
                  <a:lnTo>
                    <a:pt x="386" y="532"/>
                  </a:lnTo>
                  <a:lnTo>
                    <a:pt x="385" y="532"/>
                  </a:lnTo>
                  <a:lnTo>
                    <a:pt x="385" y="531"/>
                  </a:lnTo>
                  <a:lnTo>
                    <a:pt x="384" y="531"/>
                  </a:lnTo>
                  <a:lnTo>
                    <a:pt x="383" y="531"/>
                  </a:lnTo>
                  <a:lnTo>
                    <a:pt x="383" y="530"/>
                  </a:lnTo>
                  <a:lnTo>
                    <a:pt x="382" y="530"/>
                  </a:lnTo>
                  <a:lnTo>
                    <a:pt x="381" y="529"/>
                  </a:lnTo>
                  <a:lnTo>
                    <a:pt x="381" y="529"/>
                  </a:lnTo>
                  <a:lnTo>
                    <a:pt x="380" y="528"/>
                  </a:lnTo>
                  <a:lnTo>
                    <a:pt x="379" y="528"/>
                  </a:lnTo>
                  <a:lnTo>
                    <a:pt x="379" y="527"/>
                  </a:lnTo>
                  <a:lnTo>
                    <a:pt x="378" y="527"/>
                  </a:lnTo>
                  <a:lnTo>
                    <a:pt x="377" y="526"/>
                  </a:lnTo>
                  <a:lnTo>
                    <a:pt x="377" y="526"/>
                  </a:lnTo>
                  <a:lnTo>
                    <a:pt x="376" y="526"/>
                  </a:lnTo>
                  <a:lnTo>
                    <a:pt x="366" y="540"/>
                  </a:lnTo>
                  <a:close/>
                  <a:moveTo>
                    <a:pt x="416" y="564"/>
                  </a:moveTo>
                  <a:lnTo>
                    <a:pt x="416" y="564"/>
                  </a:lnTo>
                  <a:lnTo>
                    <a:pt x="416" y="564"/>
                  </a:lnTo>
                  <a:lnTo>
                    <a:pt x="417" y="565"/>
                  </a:lnTo>
                  <a:lnTo>
                    <a:pt x="418" y="565"/>
                  </a:lnTo>
                  <a:lnTo>
                    <a:pt x="419" y="565"/>
                  </a:lnTo>
                  <a:lnTo>
                    <a:pt x="420" y="565"/>
                  </a:lnTo>
                  <a:lnTo>
                    <a:pt x="421" y="566"/>
                  </a:lnTo>
                  <a:lnTo>
                    <a:pt x="422" y="566"/>
                  </a:lnTo>
                  <a:lnTo>
                    <a:pt x="423" y="566"/>
                  </a:lnTo>
                  <a:lnTo>
                    <a:pt x="424" y="566"/>
                  </a:lnTo>
                  <a:lnTo>
                    <a:pt x="424" y="566"/>
                  </a:lnTo>
                  <a:lnTo>
                    <a:pt x="425" y="567"/>
                  </a:lnTo>
                  <a:lnTo>
                    <a:pt x="426" y="567"/>
                  </a:lnTo>
                  <a:lnTo>
                    <a:pt x="427" y="567"/>
                  </a:lnTo>
                  <a:lnTo>
                    <a:pt x="428" y="567"/>
                  </a:lnTo>
                  <a:lnTo>
                    <a:pt x="429" y="567"/>
                  </a:lnTo>
                  <a:lnTo>
                    <a:pt x="430" y="568"/>
                  </a:lnTo>
                  <a:lnTo>
                    <a:pt x="431" y="568"/>
                  </a:lnTo>
                  <a:lnTo>
                    <a:pt x="432" y="568"/>
                  </a:lnTo>
                  <a:lnTo>
                    <a:pt x="433" y="568"/>
                  </a:lnTo>
                  <a:lnTo>
                    <a:pt x="434" y="568"/>
                  </a:lnTo>
                  <a:lnTo>
                    <a:pt x="434" y="568"/>
                  </a:lnTo>
                  <a:lnTo>
                    <a:pt x="437" y="551"/>
                  </a:lnTo>
                  <a:lnTo>
                    <a:pt x="437" y="551"/>
                  </a:lnTo>
                  <a:lnTo>
                    <a:pt x="436" y="551"/>
                  </a:lnTo>
                  <a:lnTo>
                    <a:pt x="435" y="551"/>
                  </a:lnTo>
                  <a:lnTo>
                    <a:pt x="434" y="550"/>
                  </a:lnTo>
                  <a:lnTo>
                    <a:pt x="433" y="550"/>
                  </a:lnTo>
                  <a:lnTo>
                    <a:pt x="432" y="550"/>
                  </a:lnTo>
                  <a:lnTo>
                    <a:pt x="431" y="550"/>
                  </a:lnTo>
                  <a:lnTo>
                    <a:pt x="431" y="550"/>
                  </a:lnTo>
                  <a:lnTo>
                    <a:pt x="430" y="550"/>
                  </a:lnTo>
                  <a:lnTo>
                    <a:pt x="429" y="549"/>
                  </a:lnTo>
                  <a:lnTo>
                    <a:pt x="428" y="549"/>
                  </a:lnTo>
                  <a:lnTo>
                    <a:pt x="427" y="549"/>
                  </a:lnTo>
                  <a:lnTo>
                    <a:pt x="427" y="549"/>
                  </a:lnTo>
                  <a:lnTo>
                    <a:pt x="426" y="549"/>
                  </a:lnTo>
                  <a:lnTo>
                    <a:pt x="425" y="548"/>
                  </a:lnTo>
                  <a:lnTo>
                    <a:pt x="424" y="548"/>
                  </a:lnTo>
                  <a:lnTo>
                    <a:pt x="423" y="548"/>
                  </a:lnTo>
                  <a:lnTo>
                    <a:pt x="422" y="548"/>
                  </a:lnTo>
                  <a:lnTo>
                    <a:pt x="422" y="548"/>
                  </a:lnTo>
                  <a:lnTo>
                    <a:pt x="421" y="547"/>
                  </a:lnTo>
                  <a:lnTo>
                    <a:pt x="421" y="547"/>
                  </a:lnTo>
                  <a:lnTo>
                    <a:pt x="416" y="564"/>
                  </a:lnTo>
                  <a:close/>
                  <a:moveTo>
                    <a:pt x="471" y="569"/>
                  </a:moveTo>
                  <a:lnTo>
                    <a:pt x="471" y="569"/>
                  </a:lnTo>
                  <a:lnTo>
                    <a:pt x="472" y="569"/>
                  </a:lnTo>
                  <a:lnTo>
                    <a:pt x="473" y="569"/>
                  </a:lnTo>
                  <a:lnTo>
                    <a:pt x="474" y="569"/>
                  </a:lnTo>
                  <a:lnTo>
                    <a:pt x="475" y="569"/>
                  </a:lnTo>
                  <a:lnTo>
                    <a:pt x="476" y="569"/>
                  </a:lnTo>
                  <a:lnTo>
                    <a:pt x="477" y="569"/>
                  </a:lnTo>
                  <a:lnTo>
                    <a:pt x="478" y="569"/>
                  </a:lnTo>
                  <a:lnTo>
                    <a:pt x="479" y="568"/>
                  </a:lnTo>
                  <a:lnTo>
                    <a:pt x="480" y="568"/>
                  </a:lnTo>
                  <a:lnTo>
                    <a:pt x="480" y="568"/>
                  </a:lnTo>
                  <a:lnTo>
                    <a:pt x="481" y="568"/>
                  </a:lnTo>
                  <a:lnTo>
                    <a:pt x="482" y="568"/>
                  </a:lnTo>
                  <a:lnTo>
                    <a:pt x="483" y="568"/>
                  </a:lnTo>
                  <a:lnTo>
                    <a:pt x="484" y="568"/>
                  </a:lnTo>
                  <a:lnTo>
                    <a:pt x="485" y="567"/>
                  </a:lnTo>
                  <a:lnTo>
                    <a:pt x="486" y="567"/>
                  </a:lnTo>
                  <a:lnTo>
                    <a:pt x="487" y="567"/>
                  </a:lnTo>
                  <a:lnTo>
                    <a:pt x="488" y="567"/>
                  </a:lnTo>
                  <a:lnTo>
                    <a:pt x="489" y="567"/>
                  </a:lnTo>
                  <a:lnTo>
                    <a:pt x="490" y="566"/>
                  </a:lnTo>
                  <a:lnTo>
                    <a:pt x="490" y="566"/>
                  </a:lnTo>
                  <a:lnTo>
                    <a:pt x="486" y="549"/>
                  </a:lnTo>
                  <a:lnTo>
                    <a:pt x="486" y="549"/>
                  </a:lnTo>
                  <a:lnTo>
                    <a:pt x="485" y="549"/>
                  </a:lnTo>
                  <a:lnTo>
                    <a:pt x="485" y="550"/>
                  </a:lnTo>
                  <a:lnTo>
                    <a:pt x="484" y="550"/>
                  </a:lnTo>
                  <a:lnTo>
                    <a:pt x="483" y="550"/>
                  </a:lnTo>
                  <a:lnTo>
                    <a:pt x="482" y="550"/>
                  </a:lnTo>
                  <a:lnTo>
                    <a:pt x="481" y="550"/>
                  </a:lnTo>
                  <a:lnTo>
                    <a:pt x="480" y="550"/>
                  </a:lnTo>
                  <a:lnTo>
                    <a:pt x="479" y="551"/>
                  </a:lnTo>
                  <a:lnTo>
                    <a:pt x="479" y="551"/>
                  </a:lnTo>
                  <a:lnTo>
                    <a:pt x="478" y="551"/>
                  </a:lnTo>
                  <a:lnTo>
                    <a:pt x="477" y="551"/>
                  </a:lnTo>
                  <a:lnTo>
                    <a:pt x="476" y="551"/>
                  </a:lnTo>
                  <a:lnTo>
                    <a:pt x="475" y="551"/>
                  </a:lnTo>
                  <a:lnTo>
                    <a:pt x="474" y="551"/>
                  </a:lnTo>
                  <a:lnTo>
                    <a:pt x="474" y="551"/>
                  </a:lnTo>
                  <a:lnTo>
                    <a:pt x="473" y="551"/>
                  </a:lnTo>
                  <a:lnTo>
                    <a:pt x="472" y="552"/>
                  </a:lnTo>
                  <a:lnTo>
                    <a:pt x="471" y="552"/>
                  </a:lnTo>
                  <a:lnTo>
                    <a:pt x="470" y="552"/>
                  </a:lnTo>
                  <a:lnTo>
                    <a:pt x="470" y="552"/>
                  </a:lnTo>
                  <a:lnTo>
                    <a:pt x="471" y="569"/>
                  </a:lnTo>
                  <a:close/>
                  <a:moveTo>
                    <a:pt x="525" y="554"/>
                  </a:moveTo>
                  <a:lnTo>
                    <a:pt x="525" y="554"/>
                  </a:lnTo>
                  <a:lnTo>
                    <a:pt x="525" y="554"/>
                  </a:lnTo>
                  <a:lnTo>
                    <a:pt x="526" y="554"/>
                  </a:lnTo>
                  <a:lnTo>
                    <a:pt x="527" y="553"/>
                  </a:lnTo>
                  <a:lnTo>
                    <a:pt x="528" y="553"/>
                  </a:lnTo>
                  <a:lnTo>
                    <a:pt x="529" y="552"/>
                  </a:lnTo>
                  <a:lnTo>
                    <a:pt x="529" y="552"/>
                  </a:lnTo>
                  <a:lnTo>
                    <a:pt x="530" y="551"/>
                  </a:lnTo>
                  <a:lnTo>
                    <a:pt x="531" y="551"/>
                  </a:lnTo>
                  <a:lnTo>
                    <a:pt x="532" y="551"/>
                  </a:lnTo>
                  <a:lnTo>
                    <a:pt x="533" y="550"/>
                  </a:lnTo>
                  <a:lnTo>
                    <a:pt x="533" y="550"/>
                  </a:lnTo>
                  <a:lnTo>
                    <a:pt x="534" y="549"/>
                  </a:lnTo>
                  <a:lnTo>
                    <a:pt x="535" y="549"/>
                  </a:lnTo>
                  <a:lnTo>
                    <a:pt x="536" y="548"/>
                  </a:lnTo>
                  <a:lnTo>
                    <a:pt x="537" y="548"/>
                  </a:lnTo>
                  <a:lnTo>
                    <a:pt x="537" y="547"/>
                  </a:lnTo>
                  <a:lnTo>
                    <a:pt x="538" y="547"/>
                  </a:lnTo>
                  <a:lnTo>
                    <a:pt x="539" y="546"/>
                  </a:lnTo>
                  <a:lnTo>
                    <a:pt x="540" y="546"/>
                  </a:lnTo>
                  <a:lnTo>
                    <a:pt x="540" y="545"/>
                  </a:lnTo>
                  <a:lnTo>
                    <a:pt x="541" y="545"/>
                  </a:lnTo>
                  <a:lnTo>
                    <a:pt x="532" y="530"/>
                  </a:lnTo>
                  <a:lnTo>
                    <a:pt x="531" y="531"/>
                  </a:lnTo>
                  <a:lnTo>
                    <a:pt x="530" y="531"/>
                  </a:lnTo>
                  <a:lnTo>
                    <a:pt x="530" y="531"/>
                  </a:lnTo>
                  <a:lnTo>
                    <a:pt x="529" y="532"/>
                  </a:lnTo>
                  <a:lnTo>
                    <a:pt x="528" y="532"/>
                  </a:lnTo>
                  <a:lnTo>
                    <a:pt x="527" y="533"/>
                  </a:lnTo>
                  <a:lnTo>
                    <a:pt x="527" y="533"/>
                  </a:lnTo>
                  <a:lnTo>
                    <a:pt x="526" y="534"/>
                  </a:lnTo>
                  <a:lnTo>
                    <a:pt x="525" y="534"/>
                  </a:lnTo>
                  <a:lnTo>
                    <a:pt x="525" y="534"/>
                  </a:lnTo>
                  <a:lnTo>
                    <a:pt x="524" y="535"/>
                  </a:lnTo>
                  <a:lnTo>
                    <a:pt x="523" y="535"/>
                  </a:lnTo>
                  <a:lnTo>
                    <a:pt x="522" y="536"/>
                  </a:lnTo>
                  <a:lnTo>
                    <a:pt x="522" y="536"/>
                  </a:lnTo>
                  <a:lnTo>
                    <a:pt x="521" y="536"/>
                  </a:lnTo>
                  <a:lnTo>
                    <a:pt x="520" y="537"/>
                  </a:lnTo>
                  <a:lnTo>
                    <a:pt x="520" y="537"/>
                  </a:lnTo>
                  <a:lnTo>
                    <a:pt x="519" y="538"/>
                  </a:lnTo>
                  <a:lnTo>
                    <a:pt x="518" y="538"/>
                  </a:lnTo>
                  <a:lnTo>
                    <a:pt x="517" y="538"/>
                  </a:lnTo>
                  <a:lnTo>
                    <a:pt x="517" y="538"/>
                  </a:lnTo>
                  <a:lnTo>
                    <a:pt x="525" y="554"/>
                  </a:lnTo>
                  <a:close/>
                  <a:moveTo>
                    <a:pt x="570" y="521"/>
                  </a:moveTo>
                  <a:lnTo>
                    <a:pt x="570" y="521"/>
                  </a:lnTo>
                  <a:lnTo>
                    <a:pt x="570" y="520"/>
                  </a:lnTo>
                  <a:lnTo>
                    <a:pt x="570" y="520"/>
                  </a:lnTo>
                  <a:lnTo>
                    <a:pt x="571" y="519"/>
                  </a:lnTo>
                  <a:lnTo>
                    <a:pt x="572" y="518"/>
                  </a:lnTo>
                  <a:lnTo>
                    <a:pt x="572" y="518"/>
                  </a:lnTo>
                  <a:lnTo>
                    <a:pt x="573" y="517"/>
                  </a:lnTo>
                  <a:lnTo>
                    <a:pt x="574" y="516"/>
                  </a:lnTo>
                  <a:lnTo>
                    <a:pt x="574" y="516"/>
                  </a:lnTo>
                  <a:lnTo>
                    <a:pt x="575" y="515"/>
                  </a:lnTo>
                  <a:lnTo>
                    <a:pt x="575" y="514"/>
                  </a:lnTo>
                  <a:lnTo>
                    <a:pt x="576" y="514"/>
                  </a:lnTo>
                  <a:lnTo>
                    <a:pt x="576" y="513"/>
                  </a:lnTo>
                  <a:lnTo>
                    <a:pt x="577" y="512"/>
                  </a:lnTo>
                  <a:lnTo>
                    <a:pt x="578" y="511"/>
                  </a:lnTo>
                  <a:lnTo>
                    <a:pt x="578" y="511"/>
                  </a:lnTo>
                  <a:lnTo>
                    <a:pt x="579" y="510"/>
                  </a:lnTo>
                  <a:lnTo>
                    <a:pt x="579" y="509"/>
                  </a:lnTo>
                  <a:lnTo>
                    <a:pt x="580" y="508"/>
                  </a:lnTo>
                  <a:lnTo>
                    <a:pt x="580" y="508"/>
                  </a:lnTo>
                  <a:lnTo>
                    <a:pt x="581" y="507"/>
                  </a:lnTo>
                  <a:lnTo>
                    <a:pt x="581" y="506"/>
                  </a:lnTo>
                  <a:lnTo>
                    <a:pt x="567" y="496"/>
                  </a:lnTo>
                  <a:lnTo>
                    <a:pt x="567" y="497"/>
                  </a:lnTo>
                  <a:lnTo>
                    <a:pt x="566" y="497"/>
                  </a:lnTo>
                  <a:lnTo>
                    <a:pt x="566" y="498"/>
                  </a:lnTo>
                  <a:lnTo>
                    <a:pt x="565" y="499"/>
                  </a:lnTo>
                  <a:lnTo>
                    <a:pt x="565" y="499"/>
                  </a:lnTo>
                  <a:lnTo>
                    <a:pt x="564" y="500"/>
                  </a:lnTo>
                  <a:lnTo>
                    <a:pt x="564" y="500"/>
                  </a:lnTo>
                  <a:lnTo>
                    <a:pt x="563" y="501"/>
                  </a:lnTo>
                  <a:lnTo>
                    <a:pt x="563" y="502"/>
                  </a:lnTo>
                  <a:lnTo>
                    <a:pt x="562" y="502"/>
                  </a:lnTo>
                  <a:lnTo>
                    <a:pt x="562" y="503"/>
                  </a:lnTo>
                  <a:lnTo>
                    <a:pt x="561" y="504"/>
                  </a:lnTo>
                  <a:lnTo>
                    <a:pt x="561" y="504"/>
                  </a:lnTo>
                  <a:lnTo>
                    <a:pt x="560" y="505"/>
                  </a:lnTo>
                  <a:lnTo>
                    <a:pt x="560" y="505"/>
                  </a:lnTo>
                  <a:lnTo>
                    <a:pt x="559" y="506"/>
                  </a:lnTo>
                  <a:lnTo>
                    <a:pt x="559" y="507"/>
                  </a:lnTo>
                  <a:lnTo>
                    <a:pt x="558" y="507"/>
                  </a:lnTo>
                  <a:lnTo>
                    <a:pt x="557" y="508"/>
                  </a:lnTo>
                  <a:lnTo>
                    <a:pt x="557" y="509"/>
                  </a:lnTo>
                  <a:lnTo>
                    <a:pt x="557" y="509"/>
                  </a:lnTo>
                  <a:lnTo>
                    <a:pt x="570" y="521"/>
                  </a:lnTo>
                  <a:close/>
                  <a:moveTo>
                    <a:pt x="599" y="474"/>
                  </a:moveTo>
                  <a:lnTo>
                    <a:pt x="599" y="474"/>
                  </a:lnTo>
                  <a:lnTo>
                    <a:pt x="600" y="473"/>
                  </a:lnTo>
                  <a:lnTo>
                    <a:pt x="600" y="472"/>
                  </a:lnTo>
                  <a:lnTo>
                    <a:pt x="600" y="471"/>
                  </a:lnTo>
                  <a:lnTo>
                    <a:pt x="601" y="470"/>
                  </a:lnTo>
                  <a:lnTo>
                    <a:pt x="601" y="469"/>
                  </a:lnTo>
                  <a:lnTo>
                    <a:pt x="601" y="469"/>
                  </a:lnTo>
                  <a:lnTo>
                    <a:pt x="602" y="468"/>
                  </a:lnTo>
                  <a:lnTo>
                    <a:pt x="602" y="467"/>
                  </a:lnTo>
                  <a:lnTo>
                    <a:pt x="602" y="466"/>
                  </a:lnTo>
                  <a:lnTo>
                    <a:pt x="603" y="465"/>
                  </a:lnTo>
                  <a:lnTo>
                    <a:pt x="603" y="464"/>
                  </a:lnTo>
                  <a:lnTo>
                    <a:pt x="603" y="463"/>
                  </a:lnTo>
                  <a:lnTo>
                    <a:pt x="603" y="462"/>
                  </a:lnTo>
                  <a:lnTo>
                    <a:pt x="604" y="461"/>
                  </a:lnTo>
                  <a:lnTo>
                    <a:pt x="604" y="461"/>
                  </a:lnTo>
                  <a:lnTo>
                    <a:pt x="604" y="460"/>
                  </a:lnTo>
                  <a:lnTo>
                    <a:pt x="604" y="459"/>
                  </a:lnTo>
                  <a:lnTo>
                    <a:pt x="605" y="458"/>
                  </a:lnTo>
                  <a:lnTo>
                    <a:pt x="605" y="457"/>
                  </a:lnTo>
                  <a:lnTo>
                    <a:pt x="605" y="456"/>
                  </a:lnTo>
                  <a:lnTo>
                    <a:pt x="605" y="456"/>
                  </a:lnTo>
                  <a:lnTo>
                    <a:pt x="588" y="451"/>
                  </a:lnTo>
                  <a:lnTo>
                    <a:pt x="588" y="452"/>
                  </a:lnTo>
                  <a:lnTo>
                    <a:pt x="588" y="452"/>
                  </a:lnTo>
                  <a:lnTo>
                    <a:pt x="588" y="453"/>
                  </a:lnTo>
                  <a:lnTo>
                    <a:pt x="588" y="454"/>
                  </a:lnTo>
                  <a:lnTo>
                    <a:pt x="587" y="455"/>
                  </a:lnTo>
                  <a:lnTo>
                    <a:pt x="587" y="456"/>
                  </a:lnTo>
                  <a:lnTo>
                    <a:pt x="587" y="456"/>
                  </a:lnTo>
                  <a:lnTo>
                    <a:pt x="587" y="457"/>
                  </a:lnTo>
                  <a:lnTo>
                    <a:pt x="586" y="458"/>
                  </a:lnTo>
                  <a:lnTo>
                    <a:pt x="586" y="459"/>
                  </a:lnTo>
                  <a:lnTo>
                    <a:pt x="586" y="459"/>
                  </a:lnTo>
                  <a:lnTo>
                    <a:pt x="586" y="460"/>
                  </a:lnTo>
                  <a:lnTo>
                    <a:pt x="585" y="461"/>
                  </a:lnTo>
                  <a:lnTo>
                    <a:pt x="585" y="462"/>
                  </a:lnTo>
                  <a:lnTo>
                    <a:pt x="585" y="463"/>
                  </a:lnTo>
                  <a:lnTo>
                    <a:pt x="584" y="463"/>
                  </a:lnTo>
                  <a:lnTo>
                    <a:pt x="584" y="464"/>
                  </a:lnTo>
                  <a:lnTo>
                    <a:pt x="584" y="465"/>
                  </a:lnTo>
                  <a:lnTo>
                    <a:pt x="584" y="466"/>
                  </a:lnTo>
                  <a:lnTo>
                    <a:pt x="583" y="467"/>
                  </a:lnTo>
                  <a:lnTo>
                    <a:pt x="583" y="467"/>
                  </a:lnTo>
                  <a:lnTo>
                    <a:pt x="599" y="474"/>
                  </a:lnTo>
                  <a:close/>
                  <a:moveTo>
                    <a:pt x="610" y="419"/>
                  </a:moveTo>
                  <a:lnTo>
                    <a:pt x="610" y="419"/>
                  </a:lnTo>
                  <a:lnTo>
                    <a:pt x="610" y="419"/>
                  </a:lnTo>
                  <a:lnTo>
                    <a:pt x="610" y="418"/>
                  </a:lnTo>
                  <a:lnTo>
                    <a:pt x="610" y="417"/>
                  </a:lnTo>
                  <a:lnTo>
                    <a:pt x="610" y="416"/>
                  </a:lnTo>
                  <a:lnTo>
                    <a:pt x="610" y="415"/>
                  </a:lnTo>
                  <a:lnTo>
                    <a:pt x="610" y="414"/>
                  </a:lnTo>
                  <a:lnTo>
                    <a:pt x="610" y="413"/>
                  </a:lnTo>
                  <a:lnTo>
                    <a:pt x="610" y="412"/>
                  </a:lnTo>
                  <a:lnTo>
                    <a:pt x="610" y="411"/>
                  </a:lnTo>
                  <a:lnTo>
                    <a:pt x="610" y="410"/>
                  </a:lnTo>
                  <a:lnTo>
                    <a:pt x="610" y="409"/>
                  </a:lnTo>
                  <a:lnTo>
                    <a:pt x="610" y="408"/>
                  </a:lnTo>
                  <a:lnTo>
                    <a:pt x="610" y="407"/>
                  </a:lnTo>
                  <a:lnTo>
                    <a:pt x="610" y="406"/>
                  </a:lnTo>
                  <a:lnTo>
                    <a:pt x="610" y="405"/>
                  </a:lnTo>
                  <a:lnTo>
                    <a:pt x="610" y="404"/>
                  </a:lnTo>
                  <a:lnTo>
                    <a:pt x="610" y="403"/>
                  </a:lnTo>
                  <a:lnTo>
                    <a:pt x="610" y="402"/>
                  </a:lnTo>
                  <a:lnTo>
                    <a:pt x="609" y="401"/>
                  </a:lnTo>
                  <a:lnTo>
                    <a:pt x="609" y="400"/>
                  </a:lnTo>
                  <a:lnTo>
                    <a:pt x="592" y="402"/>
                  </a:lnTo>
                  <a:lnTo>
                    <a:pt x="592" y="403"/>
                  </a:lnTo>
                  <a:lnTo>
                    <a:pt x="592" y="404"/>
                  </a:lnTo>
                  <a:lnTo>
                    <a:pt x="592" y="405"/>
                  </a:lnTo>
                  <a:lnTo>
                    <a:pt x="592" y="406"/>
                  </a:lnTo>
                  <a:lnTo>
                    <a:pt x="592" y="406"/>
                  </a:lnTo>
                  <a:lnTo>
                    <a:pt x="592" y="407"/>
                  </a:lnTo>
                  <a:lnTo>
                    <a:pt x="592" y="408"/>
                  </a:lnTo>
                  <a:lnTo>
                    <a:pt x="592" y="409"/>
                  </a:lnTo>
                  <a:lnTo>
                    <a:pt x="592" y="410"/>
                  </a:lnTo>
                  <a:lnTo>
                    <a:pt x="593" y="411"/>
                  </a:lnTo>
                  <a:lnTo>
                    <a:pt x="593" y="412"/>
                  </a:lnTo>
                  <a:lnTo>
                    <a:pt x="593" y="412"/>
                  </a:lnTo>
                  <a:lnTo>
                    <a:pt x="593" y="413"/>
                  </a:lnTo>
                  <a:lnTo>
                    <a:pt x="593" y="414"/>
                  </a:lnTo>
                  <a:lnTo>
                    <a:pt x="593" y="415"/>
                  </a:lnTo>
                  <a:lnTo>
                    <a:pt x="593" y="416"/>
                  </a:lnTo>
                  <a:lnTo>
                    <a:pt x="593" y="417"/>
                  </a:lnTo>
                  <a:lnTo>
                    <a:pt x="593" y="418"/>
                  </a:lnTo>
                  <a:lnTo>
                    <a:pt x="593" y="419"/>
                  </a:lnTo>
                  <a:lnTo>
                    <a:pt x="593" y="419"/>
                  </a:lnTo>
                  <a:lnTo>
                    <a:pt x="610" y="419"/>
                  </a:lnTo>
                  <a:close/>
                  <a:moveTo>
                    <a:pt x="601" y="364"/>
                  </a:moveTo>
                  <a:lnTo>
                    <a:pt x="601" y="364"/>
                  </a:lnTo>
                  <a:lnTo>
                    <a:pt x="601" y="363"/>
                  </a:lnTo>
                  <a:lnTo>
                    <a:pt x="600" y="362"/>
                  </a:lnTo>
                  <a:lnTo>
                    <a:pt x="600" y="362"/>
                  </a:lnTo>
                  <a:lnTo>
                    <a:pt x="600" y="361"/>
                  </a:lnTo>
                  <a:lnTo>
                    <a:pt x="599" y="360"/>
                  </a:lnTo>
                  <a:lnTo>
                    <a:pt x="599" y="359"/>
                  </a:lnTo>
                  <a:lnTo>
                    <a:pt x="599" y="358"/>
                  </a:lnTo>
                  <a:lnTo>
                    <a:pt x="598" y="357"/>
                  </a:lnTo>
                  <a:lnTo>
                    <a:pt x="598" y="356"/>
                  </a:lnTo>
                  <a:lnTo>
                    <a:pt x="598" y="356"/>
                  </a:lnTo>
                  <a:lnTo>
                    <a:pt x="597" y="355"/>
                  </a:lnTo>
                  <a:lnTo>
                    <a:pt x="597" y="354"/>
                  </a:lnTo>
                  <a:lnTo>
                    <a:pt x="596" y="353"/>
                  </a:lnTo>
                  <a:lnTo>
                    <a:pt x="596" y="352"/>
                  </a:lnTo>
                  <a:lnTo>
                    <a:pt x="596" y="351"/>
                  </a:lnTo>
                  <a:lnTo>
                    <a:pt x="595" y="350"/>
                  </a:lnTo>
                  <a:lnTo>
                    <a:pt x="595" y="350"/>
                  </a:lnTo>
                  <a:lnTo>
                    <a:pt x="594" y="349"/>
                  </a:lnTo>
                  <a:lnTo>
                    <a:pt x="594" y="348"/>
                  </a:lnTo>
                  <a:lnTo>
                    <a:pt x="594" y="347"/>
                  </a:lnTo>
                  <a:lnTo>
                    <a:pt x="593" y="347"/>
                  </a:lnTo>
                  <a:lnTo>
                    <a:pt x="578" y="355"/>
                  </a:lnTo>
                  <a:lnTo>
                    <a:pt x="578" y="355"/>
                  </a:lnTo>
                  <a:lnTo>
                    <a:pt x="578" y="356"/>
                  </a:lnTo>
                  <a:lnTo>
                    <a:pt x="579" y="357"/>
                  </a:lnTo>
                  <a:lnTo>
                    <a:pt x="579" y="357"/>
                  </a:lnTo>
                  <a:lnTo>
                    <a:pt x="579" y="358"/>
                  </a:lnTo>
                  <a:lnTo>
                    <a:pt x="580" y="359"/>
                  </a:lnTo>
                  <a:lnTo>
                    <a:pt x="580" y="360"/>
                  </a:lnTo>
                  <a:lnTo>
                    <a:pt x="580" y="360"/>
                  </a:lnTo>
                  <a:lnTo>
                    <a:pt x="581" y="361"/>
                  </a:lnTo>
                  <a:lnTo>
                    <a:pt x="581" y="362"/>
                  </a:lnTo>
                  <a:lnTo>
                    <a:pt x="581" y="363"/>
                  </a:lnTo>
                  <a:lnTo>
                    <a:pt x="582" y="363"/>
                  </a:lnTo>
                  <a:lnTo>
                    <a:pt x="582" y="364"/>
                  </a:lnTo>
                  <a:lnTo>
                    <a:pt x="582" y="365"/>
                  </a:lnTo>
                  <a:lnTo>
                    <a:pt x="583" y="366"/>
                  </a:lnTo>
                  <a:lnTo>
                    <a:pt x="583" y="366"/>
                  </a:lnTo>
                  <a:lnTo>
                    <a:pt x="583" y="367"/>
                  </a:lnTo>
                  <a:lnTo>
                    <a:pt x="584" y="368"/>
                  </a:lnTo>
                  <a:lnTo>
                    <a:pt x="584" y="369"/>
                  </a:lnTo>
                  <a:lnTo>
                    <a:pt x="584" y="369"/>
                  </a:lnTo>
                  <a:lnTo>
                    <a:pt x="584" y="370"/>
                  </a:lnTo>
                  <a:lnTo>
                    <a:pt x="601" y="364"/>
                  </a:lnTo>
                  <a:close/>
                  <a:moveTo>
                    <a:pt x="573" y="316"/>
                  </a:moveTo>
                  <a:lnTo>
                    <a:pt x="573" y="316"/>
                  </a:lnTo>
                  <a:lnTo>
                    <a:pt x="572" y="316"/>
                  </a:lnTo>
                  <a:lnTo>
                    <a:pt x="572" y="315"/>
                  </a:lnTo>
                  <a:lnTo>
                    <a:pt x="571" y="315"/>
                  </a:lnTo>
                  <a:lnTo>
                    <a:pt x="570" y="314"/>
                  </a:lnTo>
                  <a:lnTo>
                    <a:pt x="570" y="313"/>
                  </a:lnTo>
                  <a:lnTo>
                    <a:pt x="569" y="313"/>
                  </a:lnTo>
                  <a:lnTo>
                    <a:pt x="569" y="312"/>
                  </a:lnTo>
                  <a:lnTo>
                    <a:pt x="568" y="311"/>
                  </a:lnTo>
                  <a:lnTo>
                    <a:pt x="567" y="311"/>
                  </a:lnTo>
                  <a:lnTo>
                    <a:pt x="567" y="310"/>
                  </a:lnTo>
                  <a:lnTo>
                    <a:pt x="566" y="309"/>
                  </a:lnTo>
                  <a:lnTo>
                    <a:pt x="565" y="309"/>
                  </a:lnTo>
                  <a:lnTo>
                    <a:pt x="565" y="308"/>
                  </a:lnTo>
                  <a:lnTo>
                    <a:pt x="564" y="307"/>
                  </a:lnTo>
                  <a:lnTo>
                    <a:pt x="563" y="307"/>
                  </a:lnTo>
                  <a:lnTo>
                    <a:pt x="563" y="306"/>
                  </a:lnTo>
                  <a:lnTo>
                    <a:pt x="562" y="305"/>
                  </a:lnTo>
                  <a:lnTo>
                    <a:pt x="561" y="305"/>
                  </a:lnTo>
                  <a:lnTo>
                    <a:pt x="561" y="304"/>
                  </a:lnTo>
                  <a:lnTo>
                    <a:pt x="560" y="304"/>
                  </a:lnTo>
                  <a:lnTo>
                    <a:pt x="559" y="303"/>
                  </a:lnTo>
                  <a:lnTo>
                    <a:pt x="548" y="316"/>
                  </a:lnTo>
                  <a:lnTo>
                    <a:pt x="548" y="317"/>
                  </a:lnTo>
                  <a:lnTo>
                    <a:pt x="549" y="317"/>
                  </a:lnTo>
                  <a:lnTo>
                    <a:pt x="549" y="318"/>
                  </a:lnTo>
                  <a:lnTo>
                    <a:pt x="550" y="318"/>
                  </a:lnTo>
                  <a:lnTo>
                    <a:pt x="551" y="319"/>
                  </a:lnTo>
                  <a:lnTo>
                    <a:pt x="551" y="319"/>
                  </a:lnTo>
                  <a:lnTo>
                    <a:pt x="552" y="320"/>
                  </a:lnTo>
                  <a:lnTo>
                    <a:pt x="552" y="320"/>
                  </a:lnTo>
                  <a:lnTo>
                    <a:pt x="553" y="321"/>
                  </a:lnTo>
                  <a:lnTo>
                    <a:pt x="554" y="322"/>
                  </a:lnTo>
                  <a:lnTo>
                    <a:pt x="554" y="322"/>
                  </a:lnTo>
                  <a:lnTo>
                    <a:pt x="555" y="323"/>
                  </a:lnTo>
                  <a:lnTo>
                    <a:pt x="555" y="323"/>
                  </a:lnTo>
                  <a:lnTo>
                    <a:pt x="556" y="324"/>
                  </a:lnTo>
                  <a:lnTo>
                    <a:pt x="556" y="325"/>
                  </a:lnTo>
                  <a:lnTo>
                    <a:pt x="557" y="325"/>
                  </a:lnTo>
                  <a:lnTo>
                    <a:pt x="557" y="326"/>
                  </a:lnTo>
                  <a:lnTo>
                    <a:pt x="558" y="326"/>
                  </a:lnTo>
                  <a:lnTo>
                    <a:pt x="559" y="327"/>
                  </a:lnTo>
                  <a:lnTo>
                    <a:pt x="559" y="328"/>
                  </a:lnTo>
                  <a:lnTo>
                    <a:pt x="559" y="328"/>
                  </a:lnTo>
                  <a:lnTo>
                    <a:pt x="573" y="316"/>
                  </a:lnTo>
                  <a:close/>
                  <a:moveTo>
                    <a:pt x="529" y="282"/>
                  </a:moveTo>
                  <a:lnTo>
                    <a:pt x="529" y="282"/>
                  </a:lnTo>
                  <a:lnTo>
                    <a:pt x="529" y="281"/>
                  </a:lnTo>
                  <a:lnTo>
                    <a:pt x="528" y="281"/>
                  </a:lnTo>
                  <a:lnTo>
                    <a:pt x="527" y="280"/>
                  </a:lnTo>
                  <a:lnTo>
                    <a:pt x="526" y="280"/>
                  </a:lnTo>
                  <a:lnTo>
                    <a:pt x="525" y="280"/>
                  </a:lnTo>
                  <a:lnTo>
                    <a:pt x="524" y="279"/>
                  </a:lnTo>
                  <a:lnTo>
                    <a:pt x="524" y="279"/>
                  </a:lnTo>
                  <a:lnTo>
                    <a:pt x="523" y="278"/>
                  </a:lnTo>
                  <a:lnTo>
                    <a:pt x="522" y="278"/>
                  </a:lnTo>
                  <a:lnTo>
                    <a:pt x="521" y="278"/>
                  </a:lnTo>
                  <a:lnTo>
                    <a:pt x="520" y="277"/>
                  </a:lnTo>
                  <a:lnTo>
                    <a:pt x="519" y="277"/>
                  </a:lnTo>
                  <a:lnTo>
                    <a:pt x="518" y="277"/>
                  </a:lnTo>
                  <a:lnTo>
                    <a:pt x="518" y="276"/>
                  </a:lnTo>
                  <a:lnTo>
                    <a:pt x="517" y="276"/>
                  </a:lnTo>
                  <a:lnTo>
                    <a:pt x="516" y="275"/>
                  </a:lnTo>
                  <a:lnTo>
                    <a:pt x="515" y="275"/>
                  </a:lnTo>
                  <a:lnTo>
                    <a:pt x="514" y="275"/>
                  </a:lnTo>
                  <a:lnTo>
                    <a:pt x="513" y="274"/>
                  </a:lnTo>
                  <a:lnTo>
                    <a:pt x="512" y="274"/>
                  </a:lnTo>
                  <a:lnTo>
                    <a:pt x="512" y="274"/>
                  </a:lnTo>
                  <a:lnTo>
                    <a:pt x="506" y="290"/>
                  </a:lnTo>
                  <a:lnTo>
                    <a:pt x="506" y="290"/>
                  </a:lnTo>
                  <a:lnTo>
                    <a:pt x="507" y="291"/>
                  </a:lnTo>
                  <a:lnTo>
                    <a:pt x="508" y="291"/>
                  </a:lnTo>
                  <a:lnTo>
                    <a:pt x="508" y="291"/>
                  </a:lnTo>
                  <a:lnTo>
                    <a:pt x="509" y="292"/>
                  </a:lnTo>
                  <a:lnTo>
                    <a:pt x="510" y="292"/>
                  </a:lnTo>
                  <a:lnTo>
                    <a:pt x="511" y="292"/>
                  </a:lnTo>
                  <a:lnTo>
                    <a:pt x="511" y="293"/>
                  </a:lnTo>
                  <a:lnTo>
                    <a:pt x="512" y="293"/>
                  </a:lnTo>
                  <a:lnTo>
                    <a:pt x="513" y="293"/>
                  </a:lnTo>
                  <a:lnTo>
                    <a:pt x="514" y="294"/>
                  </a:lnTo>
                  <a:lnTo>
                    <a:pt x="514" y="294"/>
                  </a:lnTo>
                  <a:lnTo>
                    <a:pt x="515" y="294"/>
                  </a:lnTo>
                  <a:lnTo>
                    <a:pt x="516" y="295"/>
                  </a:lnTo>
                  <a:lnTo>
                    <a:pt x="517" y="295"/>
                  </a:lnTo>
                  <a:lnTo>
                    <a:pt x="517" y="295"/>
                  </a:lnTo>
                  <a:lnTo>
                    <a:pt x="518" y="296"/>
                  </a:lnTo>
                  <a:lnTo>
                    <a:pt x="519" y="296"/>
                  </a:lnTo>
                  <a:lnTo>
                    <a:pt x="520" y="297"/>
                  </a:lnTo>
                  <a:lnTo>
                    <a:pt x="520" y="297"/>
                  </a:lnTo>
                  <a:lnTo>
                    <a:pt x="521" y="297"/>
                  </a:lnTo>
                  <a:lnTo>
                    <a:pt x="529" y="282"/>
                  </a:lnTo>
                  <a:close/>
                  <a:moveTo>
                    <a:pt x="457" y="231"/>
                  </a:moveTo>
                  <a:lnTo>
                    <a:pt x="457" y="231"/>
                  </a:lnTo>
                  <a:cubicBezTo>
                    <a:pt x="354" y="231"/>
                    <a:pt x="271" y="314"/>
                    <a:pt x="271" y="417"/>
                  </a:cubicBezTo>
                  <a:cubicBezTo>
                    <a:pt x="271" y="520"/>
                    <a:pt x="354" y="603"/>
                    <a:pt x="457" y="603"/>
                  </a:cubicBezTo>
                  <a:cubicBezTo>
                    <a:pt x="560" y="603"/>
                    <a:pt x="643" y="520"/>
                    <a:pt x="643" y="417"/>
                  </a:cubicBezTo>
                  <a:cubicBezTo>
                    <a:pt x="643" y="314"/>
                    <a:pt x="560" y="231"/>
                    <a:pt x="457" y="231"/>
                  </a:cubicBezTo>
                  <a:close/>
                  <a:moveTo>
                    <a:pt x="30" y="153"/>
                  </a:moveTo>
                  <a:lnTo>
                    <a:pt x="30" y="153"/>
                  </a:lnTo>
                  <a:cubicBezTo>
                    <a:pt x="66" y="150"/>
                    <a:pt x="102" y="148"/>
                    <a:pt x="138" y="147"/>
                  </a:cubicBezTo>
                  <a:cubicBezTo>
                    <a:pt x="114" y="146"/>
                    <a:pt x="89" y="144"/>
                    <a:pt x="65" y="141"/>
                  </a:cubicBezTo>
                  <a:cubicBezTo>
                    <a:pt x="49" y="139"/>
                    <a:pt x="35" y="128"/>
                    <a:pt x="35" y="111"/>
                  </a:cubicBezTo>
                  <a:cubicBezTo>
                    <a:pt x="35" y="87"/>
                    <a:pt x="35" y="63"/>
                    <a:pt x="35" y="39"/>
                  </a:cubicBezTo>
                  <a:cubicBezTo>
                    <a:pt x="35" y="23"/>
                    <a:pt x="49" y="11"/>
                    <a:pt x="65" y="9"/>
                  </a:cubicBezTo>
                  <a:cubicBezTo>
                    <a:pt x="163" y="0"/>
                    <a:pt x="260" y="0"/>
                    <a:pt x="358" y="9"/>
                  </a:cubicBezTo>
                  <a:cubicBezTo>
                    <a:pt x="374" y="11"/>
                    <a:pt x="388" y="23"/>
                    <a:pt x="388" y="39"/>
                  </a:cubicBezTo>
                  <a:cubicBezTo>
                    <a:pt x="388" y="63"/>
                    <a:pt x="388" y="87"/>
                    <a:pt x="388" y="111"/>
                  </a:cubicBezTo>
                  <a:cubicBezTo>
                    <a:pt x="388" y="128"/>
                    <a:pt x="374" y="139"/>
                    <a:pt x="358" y="141"/>
                  </a:cubicBezTo>
                  <a:cubicBezTo>
                    <a:pt x="323" y="145"/>
                    <a:pt x="287" y="147"/>
                    <a:pt x="252" y="148"/>
                  </a:cubicBezTo>
                  <a:cubicBezTo>
                    <a:pt x="276" y="150"/>
                    <a:pt x="299" y="151"/>
                    <a:pt x="323" y="153"/>
                  </a:cubicBezTo>
                  <a:cubicBezTo>
                    <a:pt x="339" y="155"/>
                    <a:pt x="353" y="167"/>
                    <a:pt x="353" y="183"/>
                  </a:cubicBezTo>
                  <a:lnTo>
                    <a:pt x="353" y="218"/>
                  </a:lnTo>
                  <a:cubicBezTo>
                    <a:pt x="333" y="229"/>
                    <a:pt x="314" y="242"/>
                    <a:pt x="299" y="258"/>
                  </a:cubicBezTo>
                  <a:cubicBezTo>
                    <a:pt x="289" y="268"/>
                    <a:pt x="280" y="278"/>
                    <a:pt x="272" y="290"/>
                  </a:cubicBezTo>
                  <a:cubicBezTo>
                    <a:pt x="191" y="296"/>
                    <a:pt x="111" y="294"/>
                    <a:pt x="30" y="285"/>
                  </a:cubicBezTo>
                  <a:cubicBezTo>
                    <a:pt x="13" y="283"/>
                    <a:pt x="0" y="272"/>
                    <a:pt x="0" y="255"/>
                  </a:cubicBezTo>
                  <a:cubicBezTo>
                    <a:pt x="0" y="231"/>
                    <a:pt x="0" y="207"/>
                    <a:pt x="0" y="183"/>
                  </a:cubicBezTo>
                  <a:cubicBezTo>
                    <a:pt x="0" y="167"/>
                    <a:pt x="13" y="155"/>
                    <a:pt x="30" y="153"/>
                  </a:cubicBezTo>
                  <a:close/>
                </a:path>
              </a:pathLst>
            </a:custGeom>
            <a:solidFill>
              <a:srgbClr val="FDFDFD"/>
            </a:solidFill>
            <a:ln>
              <a:noFill/>
            </a:ln>
          </p:spPr>
          <p:txBody>
            <a:bodyPr vert="horz" wrap="square" lIns="91440" tIns="45720" rIns="91440" bIns="45720" numCol="1" anchor="t" anchorCtr="0" compatLnSpc="1"/>
            <a:lstStyle/>
            <a:p>
              <a:endParaRPr lang="zh-CN" altLang="en-US">
                <a:solidFill>
                  <a:schemeClr val="accent2"/>
                </a:solidFill>
              </a:endParaRPr>
            </a:p>
          </p:txBody>
        </p:sp>
      </p:grpSp>
      <p:sp>
        <p:nvSpPr>
          <p:cNvPr id="19" name="矩形 47"/>
          <p:cNvSpPr>
            <a:spLocks noChangeArrowheads="1"/>
          </p:cNvSpPr>
          <p:nvPr/>
        </p:nvSpPr>
        <p:spPr bwMode="auto">
          <a:xfrm>
            <a:off x="8353536" y="2621877"/>
            <a:ext cx="2684043" cy="8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buNone/>
            </a:pPr>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p:txBody>
      </p:sp>
      <p:sp>
        <p:nvSpPr>
          <p:cNvPr id="20" name="矩形 47"/>
          <p:cNvSpPr>
            <a:spLocks noChangeArrowheads="1"/>
          </p:cNvSpPr>
          <p:nvPr/>
        </p:nvSpPr>
        <p:spPr bwMode="auto">
          <a:xfrm>
            <a:off x="1516585" y="2621877"/>
            <a:ext cx="2684043" cy="8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buNone/>
            </a:pPr>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p:txBody>
      </p:sp>
      <p:sp>
        <p:nvSpPr>
          <p:cNvPr id="21" name="矩形 47"/>
          <p:cNvSpPr>
            <a:spLocks noChangeArrowheads="1"/>
          </p:cNvSpPr>
          <p:nvPr/>
        </p:nvSpPr>
        <p:spPr bwMode="auto">
          <a:xfrm>
            <a:off x="1546862" y="4925780"/>
            <a:ext cx="4080139" cy="8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buNone/>
            </a:pPr>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p:txBody>
      </p:sp>
      <p:sp>
        <p:nvSpPr>
          <p:cNvPr id="22" name="矩形 47"/>
          <p:cNvSpPr>
            <a:spLocks noChangeArrowheads="1"/>
          </p:cNvSpPr>
          <p:nvPr/>
        </p:nvSpPr>
        <p:spPr bwMode="auto">
          <a:xfrm>
            <a:off x="8353535" y="4925780"/>
            <a:ext cx="2684043" cy="8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buNone/>
            </a:pPr>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p:txBody>
      </p:sp>
      <p:sp>
        <p:nvSpPr>
          <p:cNvPr id="23"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24"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5"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27" name="音频 2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891269760"/>
      </p:ext>
    </p:extLst>
  </p:cSld>
  <p:clrMapOvr>
    <a:masterClrMapping/>
  </p:clrMapOvr>
  <mc:AlternateContent xmlns:mc="http://schemas.openxmlformats.org/markup-compatibility/2006" xmlns:p14="http://schemas.microsoft.com/office/powerpoint/2010/main">
    <mc:Choice Requires="p14">
      <p:transition spd="slow" p14:dur="1200" advTm="1177">
        <p:dissolve/>
      </p:transition>
    </mc:Choice>
    <mc:Fallback xmlns="">
      <p:transition spd="slow" advTm="1177">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7"/>
                                        </p:tgtEl>
                                      </p:cBhvr>
                                    </p:cmd>
                                  </p:childTnLst>
                                </p:cTn>
                              </p:par>
                              <p:par>
                                <p:cTn id="7" presetID="42"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1000"/>
                                        <p:tgtEl>
                                          <p:spTgt spid="2"/>
                                        </p:tgtEl>
                                      </p:cBhvr>
                                    </p:animEffect>
                                    <p:anim calcmode="lin" valueType="num">
                                      <p:cBhvr>
                                        <p:cTn id="10" dur="1000" fill="hold"/>
                                        <p:tgtEl>
                                          <p:spTgt spid="2"/>
                                        </p:tgtEl>
                                        <p:attrNameLst>
                                          <p:attrName>ppt_x</p:attrName>
                                        </p:attrNameLst>
                                      </p:cBhvr>
                                      <p:tavLst>
                                        <p:tav tm="0">
                                          <p:val>
                                            <p:strVal val="#ppt_x"/>
                                          </p:val>
                                        </p:tav>
                                        <p:tav tm="100000">
                                          <p:val>
                                            <p:strVal val="#ppt_x"/>
                                          </p:val>
                                        </p:tav>
                                      </p:tavLst>
                                    </p:anim>
                                    <p:anim calcmode="lin" valueType="num">
                                      <p:cBhvr>
                                        <p:cTn id="11" dur="1000" fill="hold"/>
                                        <p:tgtEl>
                                          <p:spTgt spid="2"/>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2" presetClass="entr" presetSubtype="9" decel="3060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0-#ppt_w/2"/>
                                          </p:val>
                                        </p:tav>
                                        <p:tav tm="100000">
                                          <p:val>
                                            <p:strVal val="#ppt_x"/>
                                          </p:val>
                                        </p:tav>
                                      </p:tavLst>
                                    </p:anim>
                                    <p:anim calcmode="lin" valueType="num">
                                      <p:cBhvr additive="base">
                                        <p:cTn id="16" dur="750" fill="hold"/>
                                        <p:tgtEl>
                                          <p:spTgt spid="10"/>
                                        </p:tgtEl>
                                        <p:attrNameLst>
                                          <p:attrName>ppt_y</p:attrName>
                                        </p:attrNameLst>
                                      </p:cBhvr>
                                      <p:tavLst>
                                        <p:tav tm="0">
                                          <p:val>
                                            <p:strVal val="0-#ppt_h/2"/>
                                          </p:val>
                                        </p:tav>
                                        <p:tav tm="100000">
                                          <p:val>
                                            <p:strVal val="#ppt_y"/>
                                          </p:val>
                                        </p:tav>
                                      </p:tavLst>
                                    </p:anim>
                                  </p:childTnLst>
                                </p:cTn>
                              </p:par>
                              <p:par>
                                <p:cTn id="17" presetID="2" presetClass="entr" presetSubtype="3" decel="3060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750" fill="hold"/>
                                        <p:tgtEl>
                                          <p:spTgt spid="16"/>
                                        </p:tgtEl>
                                        <p:attrNameLst>
                                          <p:attrName>ppt_x</p:attrName>
                                        </p:attrNameLst>
                                      </p:cBhvr>
                                      <p:tavLst>
                                        <p:tav tm="0">
                                          <p:val>
                                            <p:strVal val="1+#ppt_w/2"/>
                                          </p:val>
                                        </p:tav>
                                        <p:tav tm="100000">
                                          <p:val>
                                            <p:strVal val="#ppt_x"/>
                                          </p:val>
                                        </p:tav>
                                      </p:tavLst>
                                    </p:anim>
                                    <p:anim calcmode="lin" valueType="num">
                                      <p:cBhvr additive="base">
                                        <p:cTn id="20" dur="750" fill="hold"/>
                                        <p:tgtEl>
                                          <p:spTgt spid="16"/>
                                        </p:tgtEl>
                                        <p:attrNameLst>
                                          <p:attrName>ppt_y</p:attrName>
                                        </p:attrNameLst>
                                      </p:cBhvr>
                                      <p:tavLst>
                                        <p:tav tm="0">
                                          <p:val>
                                            <p:strVal val="0-#ppt_h/2"/>
                                          </p:val>
                                        </p:tav>
                                        <p:tav tm="100000">
                                          <p:val>
                                            <p:strVal val="#ppt_y"/>
                                          </p:val>
                                        </p:tav>
                                      </p:tavLst>
                                    </p:anim>
                                  </p:childTnLst>
                                </p:cTn>
                              </p:par>
                              <p:par>
                                <p:cTn id="21" presetID="2" presetClass="entr" presetSubtype="12" decel="3060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0-#ppt_w/2"/>
                                          </p:val>
                                        </p:tav>
                                        <p:tav tm="100000">
                                          <p:val>
                                            <p:strVal val="#ppt_x"/>
                                          </p:val>
                                        </p:tav>
                                      </p:tavLst>
                                    </p:anim>
                                    <p:anim calcmode="lin" valueType="num">
                                      <p:cBhvr additive="base">
                                        <p:cTn id="24" dur="75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6" decel="3060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750" fill="hold"/>
                                        <p:tgtEl>
                                          <p:spTgt spid="7"/>
                                        </p:tgtEl>
                                        <p:attrNameLst>
                                          <p:attrName>ppt_x</p:attrName>
                                        </p:attrNameLst>
                                      </p:cBhvr>
                                      <p:tavLst>
                                        <p:tav tm="0">
                                          <p:val>
                                            <p:strVal val="1+#ppt_w/2"/>
                                          </p:val>
                                        </p:tav>
                                        <p:tav tm="100000">
                                          <p:val>
                                            <p:strVal val="#ppt_x"/>
                                          </p:val>
                                        </p:tav>
                                      </p:tavLst>
                                    </p:anim>
                                    <p:anim calcmode="lin" valueType="num">
                                      <p:cBhvr additive="base">
                                        <p:cTn id="28" dur="750" fill="hold"/>
                                        <p:tgtEl>
                                          <p:spTgt spid="7"/>
                                        </p:tgtEl>
                                        <p:attrNameLst>
                                          <p:attrName>ppt_y</p:attrName>
                                        </p:attrNameLst>
                                      </p:cBhvr>
                                      <p:tavLst>
                                        <p:tav tm="0">
                                          <p:val>
                                            <p:strVal val="1+#ppt_h/2"/>
                                          </p:val>
                                        </p:tav>
                                        <p:tav tm="100000">
                                          <p:val>
                                            <p:strVal val="#ppt_y"/>
                                          </p:val>
                                        </p:tav>
                                      </p:tavLst>
                                    </p:anim>
                                  </p:childTnLst>
                                </p:cTn>
                              </p:par>
                            </p:childTnLst>
                          </p:cTn>
                        </p:par>
                        <p:par>
                          <p:cTn id="29" fill="hold">
                            <p:stCondLst>
                              <p:cond delay="1750"/>
                            </p:stCondLst>
                            <p:childTnLst>
                              <p:par>
                                <p:cTn id="30" presetID="10" presetClass="entr" presetSubtype="0" fill="hold" grpId="0" nodeType="after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ntr" presetSubtype="0" fill="hold" grpId="0" nodeType="withEffect">
                                  <p:stCondLst>
                                    <p:cond delay="50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10" presetClass="entr" presetSubtype="0" fill="hold" grpId="0" nodeType="withEffect">
                                  <p:stCondLst>
                                    <p:cond delay="75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2" fill="hold" display="0">
                  <p:stCondLst>
                    <p:cond delay="indefinite"/>
                  </p:stCondLst>
                  <p:endCondLst>
                    <p:cond evt="onStopAudio" delay="0">
                      <p:tgtEl>
                        <p:sldTgt/>
                      </p:tgtEl>
                    </p:cond>
                  </p:endCondLst>
                </p:cTn>
                <p:tgtEl>
                  <p:spTgt spid="27"/>
                </p:tgtEl>
              </p:cMediaNode>
            </p:audio>
          </p:childTnLst>
        </p:cTn>
      </p:par>
    </p:tnLst>
    <p:bldLst>
      <p:bldP spid="19" grpId="0"/>
      <p:bldP spid="20" grpId="0"/>
      <p:bldP spid="21" grpId="0"/>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组合 1"/>
          <p:cNvGrpSpPr/>
          <p:nvPr/>
        </p:nvGrpSpPr>
        <p:grpSpPr>
          <a:xfrm>
            <a:off x="4987637" y="2841340"/>
            <a:ext cx="1883672" cy="3271080"/>
            <a:chOff x="4427198" y="3092063"/>
            <a:chExt cx="1883672" cy="3271080"/>
          </a:xfrm>
        </p:grpSpPr>
        <p:sp>
          <p:nvSpPr>
            <p:cNvPr id="3" name="任意多边形 10"/>
            <p:cNvSpPr/>
            <p:nvPr/>
          </p:nvSpPr>
          <p:spPr>
            <a:xfrm>
              <a:off x="4427198" y="3092063"/>
              <a:ext cx="1883672" cy="1654289"/>
            </a:xfrm>
            <a:custGeom>
              <a:avLst/>
              <a:gdLst>
                <a:gd name="connsiteX0" fmla="*/ 1012372 w 2024744"/>
                <a:gd name="connsiteY0" fmla="*/ 0 h 1778181"/>
                <a:gd name="connsiteX1" fmla="*/ 2024744 w 2024744"/>
                <a:gd name="connsiteY1" fmla="*/ 803366 h 1778181"/>
                <a:gd name="connsiteX2" fmla="*/ 1578399 w 2024744"/>
                <a:gd name="connsiteY2" fmla="*/ 1469530 h 1778181"/>
                <a:gd name="connsiteX3" fmla="*/ 1571378 w 2024744"/>
                <a:gd name="connsiteY3" fmla="*/ 1472554 h 1778181"/>
                <a:gd name="connsiteX4" fmla="*/ 1526368 w 2024744"/>
                <a:gd name="connsiteY4" fmla="*/ 1533011 h 1778181"/>
                <a:gd name="connsiteX5" fmla="*/ 1258661 w 2024744"/>
                <a:gd name="connsiteY5" fmla="*/ 1778181 h 1778181"/>
                <a:gd name="connsiteX6" fmla="*/ 1331080 w 2024744"/>
                <a:gd name="connsiteY6" fmla="*/ 1576978 h 1778181"/>
                <a:gd name="connsiteX7" fmla="*/ 1333637 w 2024744"/>
                <a:gd name="connsiteY7" fmla="*/ 1564743 h 1778181"/>
                <a:gd name="connsiteX8" fmla="*/ 1313421 w 2024744"/>
                <a:gd name="connsiteY8" fmla="*/ 1570614 h 1778181"/>
                <a:gd name="connsiteX9" fmla="*/ 1012372 w 2024744"/>
                <a:gd name="connsiteY9" fmla="*/ 1606732 h 1778181"/>
                <a:gd name="connsiteX10" fmla="*/ 0 w 2024744"/>
                <a:gd name="connsiteY10" fmla="*/ 803366 h 1778181"/>
                <a:gd name="connsiteX11" fmla="*/ 1012372 w 2024744"/>
                <a:gd name="connsiteY11" fmla="*/ 0 h 177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4744" h="1778181">
                  <a:moveTo>
                    <a:pt x="1012372" y="0"/>
                  </a:moveTo>
                  <a:cubicBezTo>
                    <a:pt x="1571490" y="0"/>
                    <a:pt x="2024744" y="359679"/>
                    <a:pt x="2024744" y="803366"/>
                  </a:cubicBezTo>
                  <a:cubicBezTo>
                    <a:pt x="2024744" y="1080670"/>
                    <a:pt x="1847692" y="1325159"/>
                    <a:pt x="1578399" y="1469530"/>
                  </a:cubicBezTo>
                  <a:lnTo>
                    <a:pt x="1571378" y="1472554"/>
                  </a:lnTo>
                  <a:lnTo>
                    <a:pt x="1526368" y="1533011"/>
                  </a:lnTo>
                  <a:cubicBezTo>
                    <a:pt x="1453040" y="1624455"/>
                    <a:pt x="1358502" y="1720761"/>
                    <a:pt x="1258661" y="1778181"/>
                  </a:cubicBezTo>
                  <a:cubicBezTo>
                    <a:pt x="1290264" y="1709935"/>
                    <a:pt x="1314011" y="1643260"/>
                    <a:pt x="1331080" y="1576978"/>
                  </a:cubicBezTo>
                  <a:lnTo>
                    <a:pt x="1333637" y="1564743"/>
                  </a:lnTo>
                  <a:lnTo>
                    <a:pt x="1313421" y="1570614"/>
                  </a:lnTo>
                  <a:cubicBezTo>
                    <a:pt x="1218319" y="1594087"/>
                    <a:pt x="1117207" y="1606732"/>
                    <a:pt x="1012372" y="1606732"/>
                  </a:cubicBezTo>
                  <a:cubicBezTo>
                    <a:pt x="453254" y="1606732"/>
                    <a:pt x="0" y="1247053"/>
                    <a:pt x="0" y="803366"/>
                  </a:cubicBezTo>
                  <a:cubicBezTo>
                    <a:pt x="0" y="359679"/>
                    <a:pt x="453254" y="0"/>
                    <a:pt x="1012372"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4" name="组合 3"/>
            <p:cNvGrpSpPr/>
            <p:nvPr/>
          </p:nvGrpSpPr>
          <p:grpSpPr>
            <a:xfrm>
              <a:off x="4652603" y="4689055"/>
              <a:ext cx="835266" cy="1674088"/>
              <a:chOff x="1647825" y="4345931"/>
              <a:chExt cx="816298" cy="1636071"/>
            </a:xfrm>
            <a:solidFill>
              <a:srgbClr val="5ABCD2"/>
            </a:solidFill>
          </p:grpSpPr>
          <p:sp>
            <p:nvSpPr>
              <p:cNvPr id="7" name="椭圆 6"/>
              <p:cNvSpPr/>
              <p:nvPr/>
            </p:nvSpPr>
            <p:spPr>
              <a:xfrm>
                <a:off x="1888535" y="4345931"/>
                <a:ext cx="275698" cy="27569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任意多边形 27"/>
              <p:cNvSpPr/>
              <p:nvPr/>
            </p:nvSpPr>
            <p:spPr>
              <a:xfrm>
                <a:off x="1663381" y="4650115"/>
                <a:ext cx="771956" cy="611131"/>
              </a:xfrm>
              <a:custGeom>
                <a:avLst/>
                <a:gdLst>
                  <a:gd name="connsiteX0" fmla="*/ 101089 w 771956"/>
                  <a:gd name="connsiteY0" fmla="*/ 592751 h 611131"/>
                  <a:gd name="connsiteX1" fmla="*/ 0 w 771956"/>
                  <a:gd name="connsiteY1" fmla="*/ 583561 h 611131"/>
                  <a:gd name="connsiteX2" fmla="*/ 133254 w 771956"/>
                  <a:gd name="connsiteY2" fmla="*/ 87304 h 611131"/>
                  <a:gd name="connsiteX3" fmla="*/ 349218 w 771956"/>
                  <a:gd name="connsiteY3" fmla="*/ 0 h 611131"/>
                  <a:gd name="connsiteX4" fmla="*/ 422738 w 771956"/>
                  <a:gd name="connsiteY4" fmla="*/ 4595 h 611131"/>
                  <a:gd name="connsiteX5" fmla="*/ 634106 w 771956"/>
                  <a:gd name="connsiteY5" fmla="*/ 68924 h 611131"/>
                  <a:gd name="connsiteX6" fmla="*/ 771956 w 771956"/>
                  <a:gd name="connsiteY6" fmla="*/ 588156 h 611131"/>
                  <a:gd name="connsiteX7" fmla="*/ 684651 w 771956"/>
                  <a:gd name="connsiteY7" fmla="*/ 611131 h 611131"/>
                  <a:gd name="connsiteX8" fmla="*/ 583562 w 771956"/>
                  <a:gd name="connsiteY8" fmla="*/ 220558 h 611131"/>
                  <a:gd name="connsiteX9" fmla="*/ 537612 w 771956"/>
                  <a:gd name="connsiteY9" fmla="*/ 238938 h 611131"/>
                  <a:gd name="connsiteX10" fmla="*/ 537612 w 771956"/>
                  <a:gd name="connsiteY10" fmla="*/ 555992 h 611131"/>
                  <a:gd name="connsiteX11" fmla="*/ 225154 w 771956"/>
                  <a:gd name="connsiteY11" fmla="*/ 555992 h 611131"/>
                  <a:gd name="connsiteX12" fmla="*/ 225154 w 771956"/>
                  <a:gd name="connsiteY12" fmla="*/ 229748 h 611131"/>
                  <a:gd name="connsiteX13" fmla="*/ 188394 w 771956"/>
                  <a:gd name="connsiteY13" fmla="*/ 234343 h 611131"/>
                  <a:gd name="connsiteX14" fmla="*/ 101089 w 771956"/>
                  <a:gd name="connsiteY14" fmla="*/ 592751 h 611131"/>
                  <a:gd name="connsiteX0-1" fmla="*/ 101089 w 771956"/>
                  <a:gd name="connsiteY0-2" fmla="*/ 592751 h 611131"/>
                  <a:gd name="connsiteX1-3" fmla="*/ 0 w 771956"/>
                  <a:gd name="connsiteY1-4" fmla="*/ 583561 h 611131"/>
                  <a:gd name="connsiteX2-5" fmla="*/ 133254 w 771956"/>
                  <a:gd name="connsiteY2-6" fmla="*/ 87304 h 611131"/>
                  <a:gd name="connsiteX3-7" fmla="*/ 349218 w 771956"/>
                  <a:gd name="connsiteY3-8" fmla="*/ 0 h 611131"/>
                  <a:gd name="connsiteX4-9" fmla="*/ 422738 w 771956"/>
                  <a:gd name="connsiteY4-10" fmla="*/ 4595 h 611131"/>
                  <a:gd name="connsiteX5-11" fmla="*/ 634106 w 771956"/>
                  <a:gd name="connsiteY5-12" fmla="*/ 68924 h 611131"/>
                  <a:gd name="connsiteX6-13" fmla="*/ 771956 w 771956"/>
                  <a:gd name="connsiteY6-14" fmla="*/ 588156 h 611131"/>
                  <a:gd name="connsiteX7-15" fmla="*/ 684651 w 771956"/>
                  <a:gd name="connsiteY7-16" fmla="*/ 611131 h 611131"/>
                  <a:gd name="connsiteX8-17" fmla="*/ 583562 w 771956"/>
                  <a:gd name="connsiteY8-18" fmla="*/ 220558 h 611131"/>
                  <a:gd name="connsiteX9-19" fmla="*/ 537612 w 771956"/>
                  <a:gd name="connsiteY9-20" fmla="*/ 238938 h 611131"/>
                  <a:gd name="connsiteX10-21" fmla="*/ 537612 w 771956"/>
                  <a:gd name="connsiteY10-22" fmla="*/ 555992 h 611131"/>
                  <a:gd name="connsiteX11-23" fmla="*/ 225154 w 771956"/>
                  <a:gd name="connsiteY11-24" fmla="*/ 555992 h 611131"/>
                  <a:gd name="connsiteX12-25" fmla="*/ 225154 w 771956"/>
                  <a:gd name="connsiteY12-26" fmla="*/ 229748 h 611131"/>
                  <a:gd name="connsiteX13-27" fmla="*/ 188394 w 771956"/>
                  <a:gd name="connsiteY13-28" fmla="*/ 234343 h 611131"/>
                  <a:gd name="connsiteX14-29" fmla="*/ 101089 w 771956"/>
                  <a:gd name="connsiteY14-30" fmla="*/ 592751 h 611131"/>
                  <a:gd name="connsiteX0-31" fmla="*/ 101089 w 771956"/>
                  <a:gd name="connsiteY0-32" fmla="*/ 592751 h 611131"/>
                  <a:gd name="connsiteX1-33" fmla="*/ 0 w 771956"/>
                  <a:gd name="connsiteY1-34" fmla="*/ 583561 h 611131"/>
                  <a:gd name="connsiteX2-35" fmla="*/ 133254 w 771956"/>
                  <a:gd name="connsiteY2-36" fmla="*/ 87304 h 611131"/>
                  <a:gd name="connsiteX3-37" fmla="*/ 349218 w 771956"/>
                  <a:gd name="connsiteY3-38" fmla="*/ 0 h 611131"/>
                  <a:gd name="connsiteX4-39" fmla="*/ 422738 w 771956"/>
                  <a:gd name="connsiteY4-40" fmla="*/ 4595 h 611131"/>
                  <a:gd name="connsiteX5-41" fmla="*/ 634106 w 771956"/>
                  <a:gd name="connsiteY5-42" fmla="*/ 68924 h 611131"/>
                  <a:gd name="connsiteX6-43" fmla="*/ 771956 w 771956"/>
                  <a:gd name="connsiteY6-44" fmla="*/ 588156 h 611131"/>
                  <a:gd name="connsiteX7-45" fmla="*/ 684651 w 771956"/>
                  <a:gd name="connsiteY7-46" fmla="*/ 611131 h 611131"/>
                  <a:gd name="connsiteX8-47" fmla="*/ 583562 w 771956"/>
                  <a:gd name="connsiteY8-48" fmla="*/ 220558 h 611131"/>
                  <a:gd name="connsiteX9-49" fmla="*/ 537612 w 771956"/>
                  <a:gd name="connsiteY9-50" fmla="*/ 238938 h 611131"/>
                  <a:gd name="connsiteX10-51" fmla="*/ 537612 w 771956"/>
                  <a:gd name="connsiteY10-52" fmla="*/ 555992 h 611131"/>
                  <a:gd name="connsiteX11-53" fmla="*/ 225154 w 771956"/>
                  <a:gd name="connsiteY11-54" fmla="*/ 555992 h 611131"/>
                  <a:gd name="connsiteX12-55" fmla="*/ 225154 w 771956"/>
                  <a:gd name="connsiteY12-56" fmla="*/ 229748 h 611131"/>
                  <a:gd name="connsiteX13-57" fmla="*/ 188394 w 771956"/>
                  <a:gd name="connsiteY13-58" fmla="*/ 234343 h 611131"/>
                  <a:gd name="connsiteX14-59" fmla="*/ 101089 w 771956"/>
                  <a:gd name="connsiteY14-60" fmla="*/ 592751 h 611131"/>
                  <a:gd name="connsiteX0-61" fmla="*/ 101089 w 771956"/>
                  <a:gd name="connsiteY0-62" fmla="*/ 592751 h 611131"/>
                  <a:gd name="connsiteX1-63" fmla="*/ 0 w 771956"/>
                  <a:gd name="connsiteY1-64" fmla="*/ 583561 h 611131"/>
                  <a:gd name="connsiteX2-65" fmla="*/ 133254 w 771956"/>
                  <a:gd name="connsiteY2-66" fmla="*/ 87304 h 611131"/>
                  <a:gd name="connsiteX3-67" fmla="*/ 349218 w 771956"/>
                  <a:gd name="connsiteY3-68" fmla="*/ 0 h 611131"/>
                  <a:gd name="connsiteX4-69" fmla="*/ 422738 w 771956"/>
                  <a:gd name="connsiteY4-70" fmla="*/ 4595 h 611131"/>
                  <a:gd name="connsiteX5-71" fmla="*/ 634106 w 771956"/>
                  <a:gd name="connsiteY5-72" fmla="*/ 68924 h 611131"/>
                  <a:gd name="connsiteX6-73" fmla="*/ 771956 w 771956"/>
                  <a:gd name="connsiteY6-74" fmla="*/ 588156 h 611131"/>
                  <a:gd name="connsiteX7-75" fmla="*/ 684651 w 771956"/>
                  <a:gd name="connsiteY7-76" fmla="*/ 611131 h 611131"/>
                  <a:gd name="connsiteX8-77" fmla="*/ 583562 w 771956"/>
                  <a:gd name="connsiteY8-78" fmla="*/ 220558 h 611131"/>
                  <a:gd name="connsiteX9-79" fmla="*/ 537612 w 771956"/>
                  <a:gd name="connsiteY9-80" fmla="*/ 238938 h 611131"/>
                  <a:gd name="connsiteX10-81" fmla="*/ 537612 w 771956"/>
                  <a:gd name="connsiteY10-82" fmla="*/ 555992 h 611131"/>
                  <a:gd name="connsiteX11-83" fmla="*/ 225154 w 771956"/>
                  <a:gd name="connsiteY11-84" fmla="*/ 555992 h 611131"/>
                  <a:gd name="connsiteX12-85" fmla="*/ 225154 w 771956"/>
                  <a:gd name="connsiteY12-86" fmla="*/ 229748 h 611131"/>
                  <a:gd name="connsiteX13-87" fmla="*/ 188394 w 771956"/>
                  <a:gd name="connsiteY13-88" fmla="*/ 234343 h 611131"/>
                  <a:gd name="connsiteX14-89" fmla="*/ 101089 w 771956"/>
                  <a:gd name="connsiteY14-90" fmla="*/ 592751 h 611131"/>
                  <a:gd name="connsiteX0-91" fmla="*/ 101089 w 771956"/>
                  <a:gd name="connsiteY0-92" fmla="*/ 592751 h 611131"/>
                  <a:gd name="connsiteX1-93" fmla="*/ 0 w 771956"/>
                  <a:gd name="connsiteY1-94" fmla="*/ 583561 h 611131"/>
                  <a:gd name="connsiteX2-95" fmla="*/ 133254 w 771956"/>
                  <a:gd name="connsiteY2-96" fmla="*/ 87304 h 611131"/>
                  <a:gd name="connsiteX3-97" fmla="*/ 349218 w 771956"/>
                  <a:gd name="connsiteY3-98" fmla="*/ 0 h 611131"/>
                  <a:gd name="connsiteX4-99" fmla="*/ 422738 w 771956"/>
                  <a:gd name="connsiteY4-100" fmla="*/ 4595 h 611131"/>
                  <a:gd name="connsiteX5-101" fmla="*/ 634106 w 771956"/>
                  <a:gd name="connsiteY5-102" fmla="*/ 68924 h 611131"/>
                  <a:gd name="connsiteX6-103" fmla="*/ 771956 w 771956"/>
                  <a:gd name="connsiteY6-104" fmla="*/ 588156 h 611131"/>
                  <a:gd name="connsiteX7-105" fmla="*/ 684651 w 771956"/>
                  <a:gd name="connsiteY7-106" fmla="*/ 611131 h 611131"/>
                  <a:gd name="connsiteX8-107" fmla="*/ 583562 w 771956"/>
                  <a:gd name="connsiteY8-108" fmla="*/ 220558 h 611131"/>
                  <a:gd name="connsiteX9-109" fmla="*/ 537612 w 771956"/>
                  <a:gd name="connsiteY9-110" fmla="*/ 238938 h 611131"/>
                  <a:gd name="connsiteX10-111" fmla="*/ 537612 w 771956"/>
                  <a:gd name="connsiteY10-112" fmla="*/ 555992 h 611131"/>
                  <a:gd name="connsiteX11-113" fmla="*/ 225154 w 771956"/>
                  <a:gd name="connsiteY11-114" fmla="*/ 555992 h 611131"/>
                  <a:gd name="connsiteX12-115" fmla="*/ 225154 w 771956"/>
                  <a:gd name="connsiteY12-116" fmla="*/ 229748 h 611131"/>
                  <a:gd name="connsiteX13-117" fmla="*/ 188394 w 771956"/>
                  <a:gd name="connsiteY13-118" fmla="*/ 234343 h 611131"/>
                  <a:gd name="connsiteX14-119" fmla="*/ 101089 w 771956"/>
                  <a:gd name="connsiteY14-120" fmla="*/ 592751 h 611131"/>
                  <a:gd name="connsiteX0-121" fmla="*/ 101089 w 771956"/>
                  <a:gd name="connsiteY0-122" fmla="*/ 592751 h 611131"/>
                  <a:gd name="connsiteX1-123" fmla="*/ 0 w 771956"/>
                  <a:gd name="connsiteY1-124" fmla="*/ 583561 h 611131"/>
                  <a:gd name="connsiteX2-125" fmla="*/ 133254 w 771956"/>
                  <a:gd name="connsiteY2-126" fmla="*/ 87304 h 611131"/>
                  <a:gd name="connsiteX3-127" fmla="*/ 349218 w 771956"/>
                  <a:gd name="connsiteY3-128" fmla="*/ 0 h 611131"/>
                  <a:gd name="connsiteX4-129" fmla="*/ 422738 w 771956"/>
                  <a:gd name="connsiteY4-130" fmla="*/ 2214 h 611131"/>
                  <a:gd name="connsiteX5-131" fmla="*/ 634106 w 771956"/>
                  <a:gd name="connsiteY5-132" fmla="*/ 68924 h 611131"/>
                  <a:gd name="connsiteX6-133" fmla="*/ 771956 w 771956"/>
                  <a:gd name="connsiteY6-134" fmla="*/ 588156 h 611131"/>
                  <a:gd name="connsiteX7-135" fmla="*/ 684651 w 771956"/>
                  <a:gd name="connsiteY7-136" fmla="*/ 611131 h 611131"/>
                  <a:gd name="connsiteX8-137" fmla="*/ 583562 w 771956"/>
                  <a:gd name="connsiteY8-138" fmla="*/ 220558 h 611131"/>
                  <a:gd name="connsiteX9-139" fmla="*/ 537612 w 771956"/>
                  <a:gd name="connsiteY9-140" fmla="*/ 238938 h 611131"/>
                  <a:gd name="connsiteX10-141" fmla="*/ 537612 w 771956"/>
                  <a:gd name="connsiteY10-142" fmla="*/ 555992 h 611131"/>
                  <a:gd name="connsiteX11-143" fmla="*/ 225154 w 771956"/>
                  <a:gd name="connsiteY11-144" fmla="*/ 555992 h 611131"/>
                  <a:gd name="connsiteX12-145" fmla="*/ 225154 w 771956"/>
                  <a:gd name="connsiteY12-146" fmla="*/ 229748 h 611131"/>
                  <a:gd name="connsiteX13-147" fmla="*/ 188394 w 771956"/>
                  <a:gd name="connsiteY13-148" fmla="*/ 234343 h 611131"/>
                  <a:gd name="connsiteX14-149" fmla="*/ 101089 w 771956"/>
                  <a:gd name="connsiteY14-150" fmla="*/ 592751 h 6111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771956" h="611131">
                    <a:moveTo>
                      <a:pt x="101089" y="592751"/>
                    </a:moveTo>
                    <a:lnTo>
                      <a:pt x="0" y="583561"/>
                    </a:lnTo>
                    <a:lnTo>
                      <a:pt x="133254" y="87304"/>
                    </a:lnTo>
                    <a:cubicBezTo>
                      <a:pt x="145711" y="62965"/>
                      <a:pt x="277230" y="29101"/>
                      <a:pt x="349218" y="0"/>
                    </a:cubicBezTo>
                    <a:lnTo>
                      <a:pt x="422738" y="2214"/>
                    </a:lnTo>
                    <a:cubicBezTo>
                      <a:pt x="493194" y="23657"/>
                      <a:pt x="625562" y="47481"/>
                      <a:pt x="634106" y="68924"/>
                    </a:cubicBezTo>
                    <a:lnTo>
                      <a:pt x="771956" y="588156"/>
                    </a:lnTo>
                    <a:lnTo>
                      <a:pt x="684651" y="611131"/>
                    </a:lnTo>
                    <a:lnTo>
                      <a:pt x="583562" y="220558"/>
                    </a:lnTo>
                    <a:cubicBezTo>
                      <a:pt x="573008" y="193347"/>
                      <a:pt x="552929" y="232811"/>
                      <a:pt x="537612" y="238938"/>
                    </a:cubicBezTo>
                    <a:lnTo>
                      <a:pt x="537612" y="555992"/>
                    </a:lnTo>
                    <a:lnTo>
                      <a:pt x="225154" y="555992"/>
                    </a:lnTo>
                    <a:lnTo>
                      <a:pt x="225154" y="229748"/>
                    </a:lnTo>
                    <a:cubicBezTo>
                      <a:pt x="212901" y="231280"/>
                      <a:pt x="198266" y="213761"/>
                      <a:pt x="188394" y="234343"/>
                    </a:cubicBezTo>
                    <a:lnTo>
                      <a:pt x="101089" y="592751"/>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 name="任意多边形 28"/>
              <p:cNvSpPr/>
              <p:nvPr/>
            </p:nvSpPr>
            <p:spPr>
              <a:xfrm>
                <a:off x="1647825" y="5272089"/>
                <a:ext cx="107156" cy="76972"/>
              </a:xfrm>
              <a:custGeom>
                <a:avLst/>
                <a:gdLst>
                  <a:gd name="connsiteX0" fmla="*/ 107156 w 107156"/>
                  <a:gd name="connsiteY0" fmla="*/ 23812 h 76200"/>
                  <a:gd name="connsiteX1" fmla="*/ 0 w 107156"/>
                  <a:gd name="connsiteY1" fmla="*/ 0 h 76200"/>
                  <a:gd name="connsiteX2" fmla="*/ 42863 w 107156"/>
                  <a:gd name="connsiteY2" fmla="*/ 76200 h 76200"/>
                  <a:gd name="connsiteX3" fmla="*/ 107156 w 107156"/>
                  <a:gd name="connsiteY3" fmla="*/ 23812 h 76200"/>
                  <a:gd name="connsiteX0-1" fmla="*/ 107156 w 107156"/>
                  <a:gd name="connsiteY0-2" fmla="*/ 23812 h 76200"/>
                  <a:gd name="connsiteX1-3" fmla="*/ 0 w 107156"/>
                  <a:gd name="connsiteY1-4" fmla="*/ 0 h 76200"/>
                  <a:gd name="connsiteX2-5" fmla="*/ 42863 w 107156"/>
                  <a:gd name="connsiteY2-6" fmla="*/ 76200 h 76200"/>
                  <a:gd name="connsiteX3-7" fmla="*/ 107156 w 107156"/>
                  <a:gd name="connsiteY3-8" fmla="*/ 23812 h 76200"/>
                  <a:gd name="connsiteX0-9" fmla="*/ 107156 w 107156"/>
                  <a:gd name="connsiteY0-10" fmla="*/ 23812 h 76200"/>
                  <a:gd name="connsiteX1-11" fmla="*/ 0 w 107156"/>
                  <a:gd name="connsiteY1-12" fmla="*/ 0 h 76200"/>
                  <a:gd name="connsiteX2-13" fmla="*/ 42863 w 107156"/>
                  <a:gd name="connsiteY2-14" fmla="*/ 76200 h 76200"/>
                  <a:gd name="connsiteX3-15" fmla="*/ 107156 w 107156"/>
                  <a:gd name="connsiteY3-16" fmla="*/ 23812 h 76200"/>
                  <a:gd name="connsiteX0-17" fmla="*/ 107156 w 107156"/>
                  <a:gd name="connsiteY0-18" fmla="*/ 23812 h 76857"/>
                  <a:gd name="connsiteX1-19" fmla="*/ 0 w 107156"/>
                  <a:gd name="connsiteY1-20" fmla="*/ 0 h 76857"/>
                  <a:gd name="connsiteX2-21" fmla="*/ 42863 w 107156"/>
                  <a:gd name="connsiteY2-22" fmla="*/ 76200 h 76857"/>
                  <a:gd name="connsiteX3-23" fmla="*/ 107156 w 107156"/>
                  <a:gd name="connsiteY3-24" fmla="*/ 23812 h 76857"/>
                  <a:gd name="connsiteX0-25" fmla="*/ 107156 w 107156"/>
                  <a:gd name="connsiteY0-26" fmla="*/ 23812 h 76972"/>
                  <a:gd name="connsiteX1-27" fmla="*/ 0 w 107156"/>
                  <a:gd name="connsiteY1-28" fmla="*/ 0 h 76972"/>
                  <a:gd name="connsiteX2-29" fmla="*/ 42863 w 107156"/>
                  <a:gd name="connsiteY2-30" fmla="*/ 76200 h 76972"/>
                  <a:gd name="connsiteX3-31" fmla="*/ 107156 w 107156"/>
                  <a:gd name="connsiteY3-32" fmla="*/ 23812 h 76972"/>
                </a:gdLst>
                <a:ahLst/>
                <a:cxnLst>
                  <a:cxn ang="0">
                    <a:pos x="connsiteX0-1" y="connsiteY0-2"/>
                  </a:cxn>
                  <a:cxn ang="0">
                    <a:pos x="connsiteX1-3" y="connsiteY1-4"/>
                  </a:cxn>
                  <a:cxn ang="0">
                    <a:pos x="connsiteX2-5" y="connsiteY2-6"/>
                  </a:cxn>
                  <a:cxn ang="0">
                    <a:pos x="connsiteX3-7" y="connsiteY3-8"/>
                  </a:cxn>
                </a:cxnLst>
                <a:rect l="l" t="t" r="r" b="b"/>
                <a:pathLst>
                  <a:path w="107156" h="76972">
                    <a:moveTo>
                      <a:pt x="107156" y="23812"/>
                    </a:moveTo>
                    <a:lnTo>
                      <a:pt x="0" y="0"/>
                    </a:lnTo>
                    <a:cubicBezTo>
                      <a:pt x="1" y="56356"/>
                      <a:pt x="16668" y="67469"/>
                      <a:pt x="42863" y="76200"/>
                    </a:cubicBezTo>
                    <a:cubicBezTo>
                      <a:pt x="73819" y="82549"/>
                      <a:pt x="95250" y="48419"/>
                      <a:pt x="107156" y="23812"/>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任意多边形 29"/>
              <p:cNvSpPr/>
              <p:nvPr/>
            </p:nvSpPr>
            <p:spPr>
              <a:xfrm flipH="1">
                <a:off x="2344848" y="5272089"/>
                <a:ext cx="107156" cy="76972"/>
              </a:xfrm>
              <a:custGeom>
                <a:avLst/>
                <a:gdLst>
                  <a:gd name="connsiteX0" fmla="*/ 107156 w 107156"/>
                  <a:gd name="connsiteY0" fmla="*/ 23812 h 76200"/>
                  <a:gd name="connsiteX1" fmla="*/ 0 w 107156"/>
                  <a:gd name="connsiteY1" fmla="*/ 0 h 76200"/>
                  <a:gd name="connsiteX2" fmla="*/ 42863 w 107156"/>
                  <a:gd name="connsiteY2" fmla="*/ 76200 h 76200"/>
                  <a:gd name="connsiteX3" fmla="*/ 107156 w 107156"/>
                  <a:gd name="connsiteY3" fmla="*/ 23812 h 76200"/>
                  <a:gd name="connsiteX0-1" fmla="*/ 107156 w 107156"/>
                  <a:gd name="connsiteY0-2" fmla="*/ 23812 h 76200"/>
                  <a:gd name="connsiteX1-3" fmla="*/ 0 w 107156"/>
                  <a:gd name="connsiteY1-4" fmla="*/ 0 h 76200"/>
                  <a:gd name="connsiteX2-5" fmla="*/ 42863 w 107156"/>
                  <a:gd name="connsiteY2-6" fmla="*/ 76200 h 76200"/>
                  <a:gd name="connsiteX3-7" fmla="*/ 107156 w 107156"/>
                  <a:gd name="connsiteY3-8" fmla="*/ 23812 h 76200"/>
                  <a:gd name="connsiteX0-9" fmla="*/ 107156 w 107156"/>
                  <a:gd name="connsiteY0-10" fmla="*/ 23812 h 76200"/>
                  <a:gd name="connsiteX1-11" fmla="*/ 0 w 107156"/>
                  <a:gd name="connsiteY1-12" fmla="*/ 0 h 76200"/>
                  <a:gd name="connsiteX2-13" fmla="*/ 42863 w 107156"/>
                  <a:gd name="connsiteY2-14" fmla="*/ 76200 h 76200"/>
                  <a:gd name="connsiteX3-15" fmla="*/ 107156 w 107156"/>
                  <a:gd name="connsiteY3-16" fmla="*/ 23812 h 76200"/>
                  <a:gd name="connsiteX0-17" fmla="*/ 107156 w 107156"/>
                  <a:gd name="connsiteY0-18" fmla="*/ 23812 h 76857"/>
                  <a:gd name="connsiteX1-19" fmla="*/ 0 w 107156"/>
                  <a:gd name="connsiteY1-20" fmla="*/ 0 h 76857"/>
                  <a:gd name="connsiteX2-21" fmla="*/ 42863 w 107156"/>
                  <a:gd name="connsiteY2-22" fmla="*/ 76200 h 76857"/>
                  <a:gd name="connsiteX3-23" fmla="*/ 107156 w 107156"/>
                  <a:gd name="connsiteY3-24" fmla="*/ 23812 h 76857"/>
                  <a:gd name="connsiteX0-25" fmla="*/ 107156 w 107156"/>
                  <a:gd name="connsiteY0-26" fmla="*/ 23812 h 76972"/>
                  <a:gd name="connsiteX1-27" fmla="*/ 0 w 107156"/>
                  <a:gd name="connsiteY1-28" fmla="*/ 0 h 76972"/>
                  <a:gd name="connsiteX2-29" fmla="*/ 42863 w 107156"/>
                  <a:gd name="connsiteY2-30" fmla="*/ 76200 h 76972"/>
                  <a:gd name="connsiteX3-31" fmla="*/ 107156 w 107156"/>
                  <a:gd name="connsiteY3-32" fmla="*/ 23812 h 76972"/>
                </a:gdLst>
                <a:ahLst/>
                <a:cxnLst>
                  <a:cxn ang="0">
                    <a:pos x="connsiteX0-1" y="connsiteY0-2"/>
                  </a:cxn>
                  <a:cxn ang="0">
                    <a:pos x="connsiteX1-3" y="connsiteY1-4"/>
                  </a:cxn>
                  <a:cxn ang="0">
                    <a:pos x="connsiteX2-5" y="connsiteY2-6"/>
                  </a:cxn>
                  <a:cxn ang="0">
                    <a:pos x="connsiteX3-7" y="connsiteY3-8"/>
                  </a:cxn>
                </a:cxnLst>
                <a:rect l="l" t="t" r="r" b="b"/>
                <a:pathLst>
                  <a:path w="107156" h="76972">
                    <a:moveTo>
                      <a:pt x="107156" y="23812"/>
                    </a:moveTo>
                    <a:lnTo>
                      <a:pt x="0" y="0"/>
                    </a:lnTo>
                    <a:cubicBezTo>
                      <a:pt x="1" y="56356"/>
                      <a:pt x="16668" y="67469"/>
                      <a:pt x="42863" y="76200"/>
                    </a:cubicBezTo>
                    <a:cubicBezTo>
                      <a:pt x="73819" y="82549"/>
                      <a:pt x="95250" y="48419"/>
                      <a:pt x="107156" y="23812"/>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任意多边形 30"/>
              <p:cNvSpPr/>
              <p:nvPr/>
            </p:nvSpPr>
            <p:spPr>
              <a:xfrm>
                <a:off x="2350293" y="5366534"/>
                <a:ext cx="113830" cy="412760"/>
              </a:xfrm>
              <a:custGeom>
                <a:avLst/>
                <a:gdLst>
                  <a:gd name="connsiteX0" fmla="*/ 34055 w 113830"/>
                  <a:gd name="connsiteY0" fmla="*/ 0 h 412760"/>
                  <a:gd name="connsiteX1" fmla="*/ 79774 w 113830"/>
                  <a:gd name="connsiteY1" fmla="*/ 0 h 412760"/>
                  <a:gd name="connsiteX2" fmla="*/ 79774 w 113830"/>
                  <a:gd name="connsiteY2" fmla="*/ 17472 h 412760"/>
                  <a:gd name="connsiteX3" fmla="*/ 94858 w 113830"/>
                  <a:gd name="connsiteY3" fmla="*/ 17472 h 412760"/>
                  <a:gd name="connsiteX4" fmla="*/ 113830 w 113830"/>
                  <a:gd name="connsiteY4" fmla="*/ 36444 h 412760"/>
                  <a:gd name="connsiteX5" fmla="*/ 113830 w 113830"/>
                  <a:gd name="connsiteY5" fmla="*/ 393788 h 412760"/>
                  <a:gd name="connsiteX6" fmla="*/ 94858 w 113830"/>
                  <a:gd name="connsiteY6" fmla="*/ 412760 h 412760"/>
                  <a:gd name="connsiteX7" fmla="*/ 18972 w 113830"/>
                  <a:gd name="connsiteY7" fmla="*/ 412760 h 412760"/>
                  <a:gd name="connsiteX8" fmla="*/ 0 w 113830"/>
                  <a:gd name="connsiteY8" fmla="*/ 393788 h 412760"/>
                  <a:gd name="connsiteX9" fmla="*/ 0 w 113830"/>
                  <a:gd name="connsiteY9" fmla="*/ 36444 h 412760"/>
                  <a:gd name="connsiteX10" fmla="*/ 18972 w 113830"/>
                  <a:gd name="connsiteY10" fmla="*/ 17472 h 412760"/>
                  <a:gd name="connsiteX11" fmla="*/ 34055 w 113830"/>
                  <a:gd name="connsiteY11" fmla="*/ 17472 h 41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830" h="412760">
                    <a:moveTo>
                      <a:pt x="34055" y="0"/>
                    </a:moveTo>
                    <a:lnTo>
                      <a:pt x="79774" y="0"/>
                    </a:lnTo>
                    <a:lnTo>
                      <a:pt x="79774" y="17472"/>
                    </a:lnTo>
                    <a:lnTo>
                      <a:pt x="94858" y="17472"/>
                    </a:lnTo>
                    <a:cubicBezTo>
                      <a:pt x="105336" y="17472"/>
                      <a:pt x="113830" y="25966"/>
                      <a:pt x="113830" y="36444"/>
                    </a:cubicBezTo>
                    <a:lnTo>
                      <a:pt x="113830" y="393788"/>
                    </a:lnTo>
                    <a:cubicBezTo>
                      <a:pt x="113830" y="404266"/>
                      <a:pt x="105336" y="412760"/>
                      <a:pt x="94858" y="412760"/>
                    </a:cubicBezTo>
                    <a:lnTo>
                      <a:pt x="18972" y="412760"/>
                    </a:lnTo>
                    <a:cubicBezTo>
                      <a:pt x="8494" y="412760"/>
                      <a:pt x="0" y="404266"/>
                      <a:pt x="0" y="393788"/>
                    </a:cubicBezTo>
                    <a:lnTo>
                      <a:pt x="0" y="36444"/>
                    </a:lnTo>
                    <a:cubicBezTo>
                      <a:pt x="0" y="25966"/>
                      <a:pt x="8494" y="17472"/>
                      <a:pt x="18972" y="17472"/>
                    </a:cubicBezTo>
                    <a:lnTo>
                      <a:pt x="34055" y="17472"/>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任意多边形 31"/>
              <p:cNvSpPr/>
              <p:nvPr/>
            </p:nvSpPr>
            <p:spPr>
              <a:xfrm>
                <a:off x="1900234" y="5253040"/>
                <a:ext cx="311951" cy="728962"/>
              </a:xfrm>
              <a:custGeom>
                <a:avLst/>
                <a:gdLst>
                  <a:gd name="connsiteX0" fmla="*/ 311943 w 311943"/>
                  <a:gd name="connsiteY0" fmla="*/ 647700 h 669131"/>
                  <a:gd name="connsiteX1" fmla="*/ 311943 w 311943"/>
                  <a:gd name="connsiteY1" fmla="*/ 0 h 669131"/>
                  <a:gd name="connsiteX2" fmla="*/ 0 w 311943"/>
                  <a:gd name="connsiteY2" fmla="*/ 0 h 669131"/>
                  <a:gd name="connsiteX3" fmla="*/ 0 w 311943"/>
                  <a:gd name="connsiteY3" fmla="*/ 669131 h 669131"/>
                  <a:gd name="connsiteX4" fmla="*/ 111918 w 311943"/>
                  <a:gd name="connsiteY4" fmla="*/ 669131 h 669131"/>
                  <a:gd name="connsiteX5" fmla="*/ 111918 w 311943"/>
                  <a:gd name="connsiteY5" fmla="*/ 92868 h 669131"/>
                  <a:gd name="connsiteX6" fmla="*/ 192881 w 311943"/>
                  <a:gd name="connsiteY6" fmla="*/ 92868 h 669131"/>
                  <a:gd name="connsiteX7" fmla="*/ 192881 w 311943"/>
                  <a:gd name="connsiteY7" fmla="*/ 652462 h 669131"/>
                  <a:gd name="connsiteX8" fmla="*/ 311943 w 311943"/>
                  <a:gd name="connsiteY8" fmla="*/ 647700 h 669131"/>
                  <a:gd name="connsiteX0-1" fmla="*/ 312037 w 312037"/>
                  <a:gd name="connsiteY0-2" fmla="*/ 647700 h 695589"/>
                  <a:gd name="connsiteX1-3" fmla="*/ 312037 w 312037"/>
                  <a:gd name="connsiteY1-4" fmla="*/ 0 h 695589"/>
                  <a:gd name="connsiteX2-5" fmla="*/ 94 w 312037"/>
                  <a:gd name="connsiteY2-6" fmla="*/ 0 h 695589"/>
                  <a:gd name="connsiteX3-7" fmla="*/ 94 w 312037"/>
                  <a:gd name="connsiteY3-8" fmla="*/ 669131 h 695589"/>
                  <a:gd name="connsiteX4-9" fmla="*/ 112012 w 312037"/>
                  <a:gd name="connsiteY4-10" fmla="*/ 669131 h 695589"/>
                  <a:gd name="connsiteX5-11" fmla="*/ 112012 w 312037"/>
                  <a:gd name="connsiteY5-12" fmla="*/ 92868 h 695589"/>
                  <a:gd name="connsiteX6-13" fmla="*/ 192975 w 312037"/>
                  <a:gd name="connsiteY6-14" fmla="*/ 92868 h 695589"/>
                  <a:gd name="connsiteX7-15" fmla="*/ 192975 w 312037"/>
                  <a:gd name="connsiteY7-16" fmla="*/ 652462 h 695589"/>
                  <a:gd name="connsiteX8-17" fmla="*/ 312037 w 312037"/>
                  <a:gd name="connsiteY8-18" fmla="*/ 647700 h 695589"/>
                  <a:gd name="connsiteX0-19" fmla="*/ 312010 w 312010"/>
                  <a:gd name="connsiteY0-20" fmla="*/ 647700 h 712012"/>
                  <a:gd name="connsiteX1-21" fmla="*/ 312010 w 312010"/>
                  <a:gd name="connsiteY1-22" fmla="*/ 0 h 712012"/>
                  <a:gd name="connsiteX2-23" fmla="*/ 67 w 312010"/>
                  <a:gd name="connsiteY2-24" fmla="*/ 0 h 712012"/>
                  <a:gd name="connsiteX3-25" fmla="*/ 67 w 312010"/>
                  <a:gd name="connsiteY3-26" fmla="*/ 669131 h 712012"/>
                  <a:gd name="connsiteX4-27" fmla="*/ 111985 w 312010"/>
                  <a:gd name="connsiteY4-28" fmla="*/ 669131 h 712012"/>
                  <a:gd name="connsiteX5-29" fmla="*/ 111985 w 312010"/>
                  <a:gd name="connsiteY5-30" fmla="*/ 92868 h 712012"/>
                  <a:gd name="connsiteX6-31" fmla="*/ 192948 w 312010"/>
                  <a:gd name="connsiteY6-32" fmla="*/ 92868 h 712012"/>
                  <a:gd name="connsiteX7-33" fmla="*/ 192948 w 312010"/>
                  <a:gd name="connsiteY7-34" fmla="*/ 652462 h 712012"/>
                  <a:gd name="connsiteX8-35" fmla="*/ 312010 w 312010"/>
                  <a:gd name="connsiteY8-36" fmla="*/ 647700 h 712012"/>
                  <a:gd name="connsiteX0-37" fmla="*/ 312010 w 312010"/>
                  <a:gd name="connsiteY0-38" fmla="*/ 647700 h 712012"/>
                  <a:gd name="connsiteX1-39" fmla="*/ 312010 w 312010"/>
                  <a:gd name="connsiteY1-40" fmla="*/ 0 h 712012"/>
                  <a:gd name="connsiteX2-41" fmla="*/ 67 w 312010"/>
                  <a:gd name="connsiteY2-42" fmla="*/ 0 h 712012"/>
                  <a:gd name="connsiteX3-43" fmla="*/ 67 w 312010"/>
                  <a:gd name="connsiteY3-44" fmla="*/ 669131 h 712012"/>
                  <a:gd name="connsiteX4-45" fmla="*/ 111985 w 312010"/>
                  <a:gd name="connsiteY4-46" fmla="*/ 669131 h 712012"/>
                  <a:gd name="connsiteX5-47" fmla="*/ 111985 w 312010"/>
                  <a:gd name="connsiteY5-48" fmla="*/ 92868 h 712012"/>
                  <a:gd name="connsiteX6-49" fmla="*/ 192948 w 312010"/>
                  <a:gd name="connsiteY6-50" fmla="*/ 92868 h 712012"/>
                  <a:gd name="connsiteX7-51" fmla="*/ 192948 w 312010"/>
                  <a:gd name="connsiteY7-52" fmla="*/ 652462 h 712012"/>
                  <a:gd name="connsiteX8-53" fmla="*/ 312010 w 312010"/>
                  <a:gd name="connsiteY8-54" fmla="*/ 647700 h 712012"/>
                  <a:gd name="connsiteX0-55" fmla="*/ 312010 w 312013"/>
                  <a:gd name="connsiteY0-56" fmla="*/ 647700 h 719108"/>
                  <a:gd name="connsiteX1-57" fmla="*/ 312010 w 312013"/>
                  <a:gd name="connsiteY1-58" fmla="*/ 0 h 719108"/>
                  <a:gd name="connsiteX2-59" fmla="*/ 67 w 312013"/>
                  <a:gd name="connsiteY2-60" fmla="*/ 0 h 719108"/>
                  <a:gd name="connsiteX3-61" fmla="*/ 67 w 312013"/>
                  <a:gd name="connsiteY3-62" fmla="*/ 669131 h 719108"/>
                  <a:gd name="connsiteX4-63" fmla="*/ 111985 w 312013"/>
                  <a:gd name="connsiteY4-64" fmla="*/ 669131 h 719108"/>
                  <a:gd name="connsiteX5-65" fmla="*/ 111985 w 312013"/>
                  <a:gd name="connsiteY5-66" fmla="*/ 92868 h 719108"/>
                  <a:gd name="connsiteX6-67" fmla="*/ 192948 w 312013"/>
                  <a:gd name="connsiteY6-68" fmla="*/ 92868 h 719108"/>
                  <a:gd name="connsiteX7-69" fmla="*/ 192948 w 312013"/>
                  <a:gd name="connsiteY7-70" fmla="*/ 652462 h 719108"/>
                  <a:gd name="connsiteX8-71" fmla="*/ 312010 w 312013"/>
                  <a:gd name="connsiteY8-72" fmla="*/ 647700 h 719108"/>
                  <a:gd name="connsiteX0-73" fmla="*/ 311948 w 311951"/>
                  <a:gd name="connsiteY0-74" fmla="*/ 647700 h 720495"/>
                  <a:gd name="connsiteX1-75" fmla="*/ 311948 w 311951"/>
                  <a:gd name="connsiteY1-76" fmla="*/ 0 h 720495"/>
                  <a:gd name="connsiteX2-77" fmla="*/ 5 w 311951"/>
                  <a:gd name="connsiteY2-78" fmla="*/ 0 h 720495"/>
                  <a:gd name="connsiteX3-79" fmla="*/ 5 w 311951"/>
                  <a:gd name="connsiteY3-80" fmla="*/ 669131 h 720495"/>
                  <a:gd name="connsiteX4-81" fmla="*/ 111923 w 311951"/>
                  <a:gd name="connsiteY4-82" fmla="*/ 669131 h 720495"/>
                  <a:gd name="connsiteX5-83" fmla="*/ 111923 w 311951"/>
                  <a:gd name="connsiteY5-84" fmla="*/ 92868 h 720495"/>
                  <a:gd name="connsiteX6-85" fmla="*/ 192886 w 311951"/>
                  <a:gd name="connsiteY6-86" fmla="*/ 92868 h 720495"/>
                  <a:gd name="connsiteX7-87" fmla="*/ 192886 w 311951"/>
                  <a:gd name="connsiteY7-88" fmla="*/ 652462 h 720495"/>
                  <a:gd name="connsiteX8-89" fmla="*/ 311948 w 311951"/>
                  <a:gd name="connsiteY8-90" fmla="*/ 647700 h 720495"/>
                  <a:gd name="connsiteX0-91" fmla="*/ 311948 w 311951"/>
                  <a:gd name="connsiteY0-92" fmla="*/ 647700 h 728962"/>
                  <a:gd name="connsiteX1-93" fmla="*/ 311948 w 311951"/>
                  <a:gd name="connsiteY1-94" fmla="*/ 0 h 728962"/>
                  <a:gd name="connsiteX2-95" fmla="*/ 5 w 311951"/>
                  <a:gd name="connsiteY2-96" fmla="*/ 0 h 728962"/>
                  <a:gd name="connsiteX3-97" fmla="*/ 5 w 311951"/>
                  <a:gd name="connsiteY3-98" fmla="*/ 669131 h 728962"/>
                  <a:gd name="connsiteX4-99" fmla="*/ 111923 w 311951"/>
                  <a:gd name="connsiteY4-100" fmla="*/ 669131 h 728962"/>
                  <a:gd name="connsiteX5-101" fmla="*/ 111923 w 311951"/>
                  <a:gd name="connsiteY5-102" fmla="*/ 92868 h 728962"/>
                  <a:gd name="connsiteX6-103" fmla="*/ 192886 w 311951"/>
                  <a:gd name="connsiteY6-104" fmla="*/ 92868 h 728962"/>
                  <a:gd name="connsiteX7-105" fmla="*/ 192886 w 311951"/>
                  <a:gd name="connsiteY7-106" fmla="*/ 652462 h 728962"/>
                  <a:gd name="connsiteX8-107" fmla="*/ 311948 w 311951"/>
                  <a:gd name="connsiteY8-108" fmla="*/ 647700 h 72896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311951" h="728962">
                    <a:moveTo>
                      <a:pt x="311948" y="647700"/>
                    </a:moveTo>
                    <a:lnTo>
                      <a:pt x="311948" y="0"/>
                    </a:lnTo>
                    <a:lnTo>
                      <a:pt x="5" y="0"/>
                    </a:lnTo>
                    <a:lnTo>
                      <a:pt x="5" y="669131"/>
                    </a:lnTo>
                    <a:cubicBezTo>
                      <a:pt x="-789" y="750093"/>
                      <a:pt x="107955" y="747712"/>
                      <a:pt x="111923" y="669131"/>
                    </a:cubicBezTo>
                    <a:lnTo>
                      <a:pt x="111923" y="92868"/>
                    </a:lnTo>
                    <a:lnTo>
                      <a:pt x="192886" y="92868"/>
                    </a:lnTo>
                    <a:lnTo>
                      <a:pt x="192886" y="652462"/>
                    </a:lnTo>
                    <a:cubicBezTo>
                      <a:pt x="192091" y="750888"/>
                      <a:pt x="312742" y="732630"/>
                      <a:pt x="311948" y="647700"/>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5" name="Freeform 22"/>
            <p:cNvSpPr>
              <a:spLocks noEditPoints="1"/>
            </p:cNvSpPr>
            <p:nvPr/>
          </p:nvSpPr>
          <p:spPr bwMode="auto">
            <a:xfrm>
              <a:off x="5144917" y="3279834"/>
              <a:ext cx="441812" cy="518838"/>
            </a:xfrm>
            <a:custGeom>
              <a:avLst/>
              <a:gdLst>
                <a:gd name="T0" fmla="*/ 90 w 641"/>
                <a:gd name="T1" fmla="*/ 424 h 748"/>
                <a:gd name="T2" fmla="*/ 158 w 641"/>
                <a:gd name="T3" fmla="*/ 424 h 748"/>
                <a:gd name="T4" fmla="*/ 205 w 641"/>
                <a:gd name="T5" fmla="*/ 408 h 748"/>
                <a:gd name="T6" fmla="*/ 291 w 641"/>
                <a:gd name="T7" fmla="*/ 588 h 748"/>
                <a:gd name="T8" fmla="*/ 312 w 641"/>
                <a:gd name="T9" fmla="*/ 475 h 748"/>
                <a:gd name="T10" fmla="*/ 297 w 641"/>
                <a:gd name="T11" fmla="*/ 468 h 748"/>
                <a:gd name="T12" fmla="*/ 298 w 641"/>
                <a:gd name="T13" fmla="*/ 452 h 748"/>
                <a:gd name="T14" fmla="*/ 360 w 641"/>
                <a:gd name="T15" fmla="*/ 452 h 748"/>
                <a:gd name="T16" fmla="*/ 360 w 641"/>
                <a:gd name="T17" fmla="*/ 468 h 748"/>
                <a:gd name="T18" fmla="*/ 346 w 641"/>
                <a:gd name="T19" fmla="*/ 475 h 748"/>
                <a:gd name="T20" fmla="*/ 365 w 641"/>
                <a:gd name="T21" fmla="*/ 583 h 748"/>
                <a:gd name="T22" fmla="*/ 439 w 641"/>
                <a:gd name="T23" fmla="*/ 415 h 748"/>
                <a:gd name="T24" fmla="*/ 482 w 641"/>
                <a:gd name="T25" fmla="*/ 420 h 748"/>
                <a:gd name="T26" fmla="*/ 545 w 641"/>
                <a:gd name="T27" fmla="*/ 420 h 748"/>
                <a:gd name="T28" fmla="*/ 632 w 641"/>
                <a:gd name="T29" fmla="*/ 691 h 748"/>
                <a:gd name="T30" fmla="*/ 544 w 641"/>
                <a:gd name="T31" fmla="*/ 722 h 748"/>
                <a:gd name="T32" fmla="*/ 532 w 641"/>
                <a:gd name="T33" fmla="*/ 681 h 748"/>
                <a:gd name="T34" fmla="*/ 504 w 641"/>
                <a:gd name="T35" fmla="*/ 729 h 748"/>
                <a:gd name="T36" fmla="*/ 123 w 641"/>
                <a:gd name="T37" fmla="*/ 731 h 748"/>
                <a:gd name="T38" fmla="*/ 94 w 641"/>
                <a:gd name="T39" fmla="*/ 681 h 748"/>
                <a:gd name="T40" fmla="*/ 81 w 641"/>
                <a:gd name="T41" fmla="*/ 724 h 748"/>
                <a:gd name="T42" fmla="*/ 0 w 641"/>
                <a:gd name="T43" fmla="*/ 691 h 748"/>
                <a:gd name="T44" fmla="*/ 90 w 641"/>
                <a:gd name="T45" fmla="*/ 424 h 748"/>
                <a:gd name="T46" fmla="*/ 185 w 641"/>
                <a:gd name="T47" fmla="*/ 289 h 748"/>
                <a:gd name="T48" fmla="*/ 185 w 641"/>
                <a:gd name="T49" fmla="*/ 289 h 748"/>
                <a:gd name="T50" fmla="*/ 163 w 641"/>
                <a:gd name="T51" fmla="*/ 264 h 748"/>
                <a:gd name="T52" fmla="*/ 155 w 641"/>
                <a:gd name="T53" fmla="*/ 214 h 748"/>
                <a:gd name="T54" fmla="*/ 155 w 641"/>
                <a:gd name="T55" fmla="*/ 207 h 748"/>
                <a:gd name="T56" fmla="*/ 160 w 641"/>
                <a:gd name="T57" fmla="*/ 204 h 748"/>
                <a:gd name="T58" fmla="*/ 164 w 641"/>
                <a:gd name="T59" fmla="*/ 202 h 748"/>
                <a:gd name="T60" fmla="*/ 199 w 641"/>
                <a:gd name="T61" fmla="*/ 47 h 748"/>
                <a:gd name="T62" fmla="*/ 423 w 641"/>
                <a:gd name="T63" fmla="*/ 43 h 748"/>
                <a:gd name="T64" fmla="*/ 466 w 641"/>
                <a:gd name="T65" fmla="*/ 200 h 748"/>
                <a:gd name="T66" fmla="*/ 472 w 641"/>
                <a:gd name="T67" fmla="*/ 204 h 748"/>
                <a:gd name="T68" fmla="*/ 478 w 641"/>
                <a:gd name="T69" fmla="*/ 207 h 748"/>
                <a:gd name="T70" fmla="*/ 478 w 641"/>
                <a:gd name="T71" fmla="*/ 214 h 748"/>
                <a:gd name="T72" fmla="*/ 471 w 641"/>
                <a:gd name="T73" fmla="*/ 263 h 748"/>
                <a:gd name="T74" fmla="*/ 449 w 641"/>
                <a:gd name="T75" fmla="*/ 288 h 748"/>
                <a:gd name="T76" fmla="*/ 328 w 641"/>
                <a:gd name="T77" fmla="*/ 397 h 748"/>
                <a:gd name="T78" fmla="*/ 299 w 641"/>
                <a:gd name="T79" fmla="*/ 395 h 748"/>
                <a:gd name="T80" fmla="*/ 185 w 641"/>
                <a:gd name="T81" fmla="*/ 28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1" h="748">
                  <a:moveTo>
                    <a:pt x="90" y="424"/>
                  </a:moveTo>
                  <a:cubicBezTo>
                    <a:pt x="114" y="424"/>
                    <a:pt x="137" y="424"/>
                    <a:pt x="158" y="424"/>
                  </a:cubicBezTo>
                  <a:cubicBezTo>
                    <a:pt x="178" y="425"/>
                    <a:pt x="194" y="421"/>
                    <a:pt x="205" y="408"/>
                  </a:cubicBezTo>
                  <a:lnTo>
                    <a:pt x="291" y="588"/>
                  </a:lnTo>
                  <a:lnTo>
                    <a:pt x="312" y="475"/>
                  </a:lnTo>
                  <a:lnTo>
                    <a:pt x="297" y="468"/>
                  </a:lnTo>
                  <a:lnTo>
                    <a:pt x="298" y="452"/>
                  </a:lnTo>
                  <a:lnTo>
                    <a:pt x="360" y="452"/>
                  </a:lnTo>
                  <a:lnTo>
                    <a:pt x="360" y="468"/>
                  </a:lnTo>
                  <a:lnTo>
                    <a:pt x="346" y="475"/>
                  </a:lnTo>
                  <a:lnTo>
                    <a:pt x="365" y="583"/>
                  </a:lnTo>
                  <a:lnTo>
                    <a:pt x="439" y="415"/>
                  </a:lnTo>
                  <a:cubicBezTo>
                    <a:pt x="450" y="420"/>
                    <a:pt x="464" y="422"/>
                    <a:pt x="482" y="420"/>
                  </a:cubicBezTo>
                  <a:cubicBezTo>
                    <a:pt x="502" y="420"/>
                    <a:pt x="523" y="420"/>
                    <a:pt x="545" y="420"/>
                  </a:cubicBezTo>
                  <a:cubicBezTo>
                    <a:pt x="604" y="475"/>
                    <a:pt x="641" y="606"/>
                    <a:pt x="632" y="691"/>
                  </a:cubicBezTo>
                  <a:cubicBezTo>
                    <a:pt x="614" y="704"/>
                    <a:pt x="583" y="714"/>
                    <a:pt x="544" y="722"/>
                  </a:cubicBezTo>
                  <a:lnTo>
                    <a:pt x="532" y="681"/>
                  </a:lnTo>
                  <a:lnTo>
                    <a:pt x="504" y="729"/>
                  </a:lnTo>
                  <a:cubicBezTo>
                    <a:pt x="390" y="746"/>
                    <a:pt x="233" y="748"/>
                    <a:pt x="123" y="731"/>
                  </a:cubicBezTo>
                  <a:lnTo>
                    <a:pt x="94" y="681"/>
                  </a:lnTo>
                  <a:lnTo>
                    <a:pt x="81" y="724"/>
                  </a:lnTo>
                  <a:cubicBezTo>
                    <a:pt x="43" y="716"/>
                    <a:pt x="14" y="705"/>
                    <a:pt x="0" y="691"/>
                  </a:cubicBezTo>
                  <a:cubicBezTo>
                    <a:pt x="1" y="616"/>
                    <a:pt x="15" y="489"/>
                    <a:pt x="90" y="424"/>
                  </a:cubicBezTo>
                  <a:close/>
                  <a:moveTo>
                    <a:pt x="185" y="289"/>
                  </a:moveTo>
                  <a:lnTo>
                    <a:pt x="185" y="289"/>
                  </a:lnTo>
                  <a:cubicBezTo>
                    <a:pt x="175" y="284"/>
                    <a:pt x="168" y="275"/>
                    <a:pt x="163" y="264"/>
                  </a:cubicBezTo>
                  <a:cubicBezTo>
                    <a:pt x="157" y="251"/>
                    <a:pt x="155" y="234"/>
                    <a:pt x="155" y="214"/>
                  </a:cubicBezTo>
                  <a:lnTo>
                    <a:pt x="155" y="207"/>
                  </a:lnTo>
                  <a:lnTo>
                    <a:pt x="160" y="204"/>
                  </a:lnTo>
                  <a:cubicBezTo>
                    <a:pt x="162" y="203"/>
                    <a:pt x="163" y="202"/>
                    <a:pt x="164" y="202"/>
                  </a:cubicBezTo>
                  <a:cubicBezTo>
                    <a:pt x="152" y="117"/>
                    <a:pt x="162" y="78"/>
                    <a:pt x="199" y="47"/>
                  </a:cubicBezTo>
                  <a:cubicBezTo>
                    <a:pt x="256" y="0"/>
                    <a:pt x="365" y="0"/>
                    <a:pt x="423" y="43"/>
                  </a:cubicBezTo>
                  <a:cubicBezTo>
                    <a:pt x="463" y="72"/>
                    <a:pt x="477" y="123"/>
                    <a:pt x="466" y="200"/>
                  </a:cubicBezTo>
                  <a:cubicBezTo>
                    <a:pt x="468" y="201"/>
                    <a:pt x="470" y="202"/>
                    <a:pt x="472" y="204"/>
                  </a:cubicBezTo>
                  <a:lnTo>
                    <a:pt x="478" y="207"/>
                  </a:lnTo>
                  <a:lnTo>
                    <a:pt x="478" y="214"/>
                  </a:lnTo>
                  <a:cubicBezTo>
                    <a:pt x="478" y="233"/>
                    <a:pt x="476" y="250"/>
                    <a:pt x="471" y="263"/>
                  </a:cubicBezTo>
                  <a:cubicBezTo>
                    <a:pt x="466" y="275"/>
                    <a:pt x="459" y="283"/>
                    <a:pt x="449" y="288"/>
                  </a:cubicBezTo>
                  <a:cubicBezTo>
                    <a:pt x="434" y="338"/>
                    <a:pt x="381" y="392"/>
                    <a:pt x="328" y="397"/>
                  </a:cubicBezTo>
                  <a:cubicBezTo>
                    <a:pt x="319" y="398"/>
                    <a:pt x="308" y="398"/>
                    <a:pt x="299" y="395"/>
                  </a:cubicBezTo>
                  <a:cubicBezTo>
                    <a:pt x="241" y="374"/>
                    <a:pt x="203" y="350"/>
                    <a:pt x="185" y="289"/>
                  </a:cubicBezTo>
                  <a:close/>
                </a:path>
              </a:pathLst>
            </a:custGeom>
            <a:solidFill>
              <a:srgbClr val="FDFDFD"/>
            </a:solidFill>
            <a:ln>
              <a:noFill/>
            </a:ln>
          </p:spPr>
          <p:txBody>
            <a:bodyPr vert="horz" wrap="square" lIns="91440" tIns="45720" rIns="91440" bIns="45720" numCol="1" anchor="t" anchorCtr="0" compatLnSpc="1"/>
            <a:lstStyle/>
            <a:p>
              <a:endParaRPr lang="zh-CN" altLang="en-US"/>
            </a:p>
          </p:txBody>
        </p:sp>
        <p:sp>
          <p:nvSpPr>
            <p:cNvPr id="6" name="文本框 5"/>
            <p:cNvSpPr txBox="1"/>
            <p:nvPr/>
          </p:nvSpPr>
          <p:spPr>
            <a:xfrm>
              <a:off x="4673816" y="3855249"/>
              <a:ext cx="1422184" cy="461665"/>
            </a:xfrm>
            <a:prstGeom prst="rect">
              <a:avLst/>
            </a:prstGeom>
            <a:noFill/>
          </p:spPr>
          <p:txBody>
            <a:bodyPr wrap="none" rtlCol="0">
              <a:spAutoFit/>
            </a:bodyPr>
            <a:lstStyle/>
            <a:p>
              <a:r>
                <a:rPr lang="zh-CN" altLang="en-US" sz="2400" b="1" dirty="0">
                  <a:solidFill>
                    <a:srgbClr val="FFFFFF"/>
                  </a:solidFill>
                  <a:latin typeface="等线 Light" panose="02010600030101010101" pitchFamily="2" charset="-122"/>
                  <a:ea typeface="等线 Light" panose="02010600030101010101" pitchFamily="2" charset="-122"/>
                </a:rPr>
                <a:t>您的标题</a:t>
              </a:r>
            </a:p>
          </p:txBody>
        </p:sp>
      </p:grpSp>
      <p:grpSp>
        <p:nvGrpSpPr>
          <p:cNvPr id="13" name="组合 12"/>
          <p:cNvGrpSpPr/>
          <p:nvPr/>
        </p:nvGrpSpPr>
        <p:grpSpPr>
          <a:xfrm>
            <a:off x="1300309" y="2425946"/>
            <a:ext cx="2171198" cy="3725210"/>
            <a:chOff x="739870" y="2676669"/>
            <a:chExt cx="2171198" cy="3725210"/>
          </a:xfrm>
        </p:grpSpPr>
        <p:sp>
          <p:nvSpPr>
            <p:cNvPr id="14" name="任意多边形 7"/>
            <p:cNvSpPr/>
            <p:nvPr/>
          </p:nvSpPr>
          <p:spPr>
            <a:xfrm>
              <a:off x="739870" y="2676669"/>
              <a:ext cx="2171198" cy="1906801"/>
            </a:xfrm>
            <a:custGeom>
              <a:avLst/>
              <a:gdLst>
                <a:gd name="connsiteX0" fmla="*/ 1012372 w 2024744"/>
                <a:gd name="connsiteY0" fmla="*/ 0 h 1778181"/>
                <a:gd name="connsiteX1" fmla="*/ 2024744 w 2024744"/>
                <a:gd name="connsiteY1" fmla="*/ 803366 h 1778181"/>
                <a:gd name="connsiteX2" fmla="*/ 1578399 w 2024744"/>
                <a:gd name="connsiteY2" fmla="*/ 1469530 h 1778181"/>
                <a:gd name="connsiteX3" fmla="*/ 1571378 w 2024744"/>
                <a:gd name="connsiteY3" fmla="*/ 1472554 h 1778181"/>
                <a:gd name="connsiteX4" fmla="*/ 1526368 w 2024744"/>
                <a:gd name="connsiteY4" fmla="*/ 1533011 h 1778181"/>
                <a:gd name="connsiteX5" fmla="*/ 1258661 w 2024744"/>
                <a:gd name="connsiteY5" fmla="*/ 1778181 h 1778181"/>
                <a:gd name="connsiteX6" fmla="*/ 1331080 w 2024744"/>
                <a:gd name="connsiteY6" fmla="*/ 1576978 h 1778181"/>
                <a:gd name="connsiteX7" fmla="*/ 1333637 w 2024744"/>
                <a:gd name="connsiteY7" fmla="*/ 1564743 h 1778181"/>
                <a:gd name="connsiteX8" fmla="*/ 1313421 w 2024744"/>
                <a:gd name="connsiteY8" fmla="*/ 1570614 h 1778181"/>
                <a:gd name="connsiteX9" fmla="*/ 1012372 w 2024744"/>
                <a:gd name="connsiteY9" fmla="*/ 1606732 h 1778181"/>
                <a:gd name="connsiteX10" fmla="*/ 0 w 2024744"/>
                <a:gd name="connsiteY10" fmla="*/ 803366 h 1778181"/>
                <a:gd name="connsiteX11" fmla="*/ 1012372 w 2024744"/>
                <a:gd name="connsiteY11" fmla="*/ 0 h 177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4744" h="1778181">
                  <a:moveTo>
                    <a:pt x="1012372" y="0"/>
                  </a:moveTo>
                  <a:cubicBezTo>
                    <a:pt x="1571490" y="0"/>
                    <a:pt x="2024744" y="359679"/>
                    <a:pt x="2024744" y="803366"/>
                  </a:cubicBezTo>
                  <a:cubicBezTo>
                    <a:pt x="2024744" y="1080670"/>
                    <a:pt x="1847692" y="1325159"/>
                    <a:pt x="1578399" y="1469530"/>
                  </a:cubicBezTo>
                  <a:lnTo>
                    <a:pt x="1571378" y="1472554"/>
                  </a:lnTo>
                  <a:lnTo>
                    <a:pt x="1526368" y="1533011"/>
                  </a:lnTo>
                  <a:cubicBezTo>
                    <a:pt x="1453040" y="1624455"/>
                    <a:pt x="1358502" y="1720761"/>
                    <a:pt x="1258661" y="1778181"/>
                  </a:cubicBezTo>
                  <a:cubicBezTo>
                    <a:pt x="1290264" y="1709935"/>
                    <a:pt x="1314011" y="1643260"/>
                    <a:pt x="1331080" y="1576978"/>
                  </a:cubicBezTo>
                  <a:lnTo>
                    <a:pt x="1333637" y="1564743"/>
                  </a:lnTo>
                  <a:lnTo>
                    <a:pt x="1313421" y="1570614"/>
                  </a:lnTo>
                  <a:cubicBezTo>
                    <a:pt x="1218319" y="1594087"/>
                    <a:pt x="1117207" y="1606732"/>
                    <a:pt x="1012372" y="1606732"/>
                  </a:cubicBezTo>
                  <a:cubicBezTo>
                    <a:pt x="453254" y="1606732"/>
                    <a:pt x="0" y="1247053"/>
                    <a:pt x="0" y="803366"/>
                  </a:cubicBezTo>
                  <a:cubicBezTo>
                    <a:pt x="0" y="359679"/>
                    <a:pt x="453254" y="0"/>
                    <a:pt x="1012372"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5" name="组合 14"/>
            <p:cNvGrpSpPr/>
            <p:nvPr/>
          </p:nvGrpSpPr>
          <p:grpSpPr>
            <a:xfrm>
              <a:off x="1456308" y="4647468"/>
              <a:ext cx="875343" cy="1754411"/>
              <a:chOff x="1647825" y="4345931"/>
              <a:chExt cx="816298" cy="1636071"/>
            </a:xfrm>
            <a:solidFill>
              <a:srgbClr val="5ABCD2"/>
            </a:solidFill>
          </p:grpSpPr>
          <p:sp>
            <p:nvSpPr>
              <p:cNvPr id="18" name="椭圆 17"/>
              <p:cNvSpPr/>
              <p:nvPr/>
            </p:nvSpPr>
            <p:spPr>
              <a:xfrm>
                <a:off x="1888535" y="4345931"/>
                <a:ext cx="275698" cy="275698"/>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任意多边形 13"/>
              <p:cNvSpPr/>
              <p:nvPr/>
            </p:nvSpPr>
            <p:spPr>
              <a:xfrm>
                <a:off x="1663381" y="4650115"/>
                <a:ext cx="771956" cy="611131"/>
              </a:xfrm>
              <a:custGeom>
                <a:avLst/>
                <a:gdLst>
                  <a:gd name="connsiteX0" fmla="*/ 101089 w 771956"/>
                  <a:gd name="connsiteY0" fmla="*/ 592751 h 611131"/>
                  <a:gd name="connsiteX1" fmla="*/ 0 w 771956"/>
                  <a:gd name="connsiteY1" fmla="*/ 583561 h 611131"/>
                  <a:gd name="connsiteX2" fmla="*/ 133254 w 771956"/>
                  <a:gd name="connsiteY2" fmla="*/ 87304 h 611131"/>
                  <a:gd name="connsiteX3" fmla="*/ 349218 w 771956"/>
                  <a:gd name="connsiteY3" fmla="*/ 0 h 611131"/>
                  <a:gd name="connsiteX4" fmla="*/ 422738 w 771956"/>
                  <a:gd name="connsiteY4" fmla="*/ 4595 h 611131"/>
                  <a:gd name="connsiteX5" fmla="*/ 634106 w 771956"/>
                  <a:gd name="connsiteY5" fmla="*/ 68924 h 611131"/>
                  <a:gd name="connsiteX6" fmla="*/ 771956 w 771956"/>
                  <a:gd name="connsiteY6" fmla="*/ 588156 h 611131"/>
                  <a:gd name="connsiteX7" fmla="*/ 684651 w 771956"/>
                  <a:gd name="connsiteY7" fmla="*/ 611131 h 611131"/>
                  <a:gd name="connsiteX8" fmla="*/ 583562 w 771956"/>
                  <a:gd name="connsiteY8" fmla="*/ 220558 h 611131"/>
                  <a:gd name="connsiteX9" fmla="*/ 537612 w 771956"/>
                  <a:gd name="connsiteY9" fmla="*/ 238938 h 611131"/>
                  <a:gd name="connsiteX10" fmla="*/ 537612 w 771956"/>
                  <a:gd name="connsiteY10" fmla="*/ 555992 h 611131"/>
                  <a:gd name="connsiteX11" fmla="*/ 225154 w 771956"/>
                  <a:gd name="connsiteY11" fmla="*/ 555992 h 611131"/>
                  <a:gd name="connsiteX12" fmla="*/ 225154 w 771956"/>
                  <a:gd name="connsiteY12" fmla="*/ 229748 h 611131"/>
                  <a:gd name="connsiteX13" fmla="*/ 188394 w 771956"/>
                  <a:gd name="connsiteY13" fmla="*/ 234343 h 611131"/>
                  <a:gd name="connsiteX14" fmla="*/ 101089 w 771956"/>
                  <a:gd name="connsiteY14" fmla="*/ 592751 h 611131"/>
                  <a:gd name="connsiteX0-1" fmla="*/ 101089 w 771956"/>
                  <a:gd name="connsiteY0-2" fmla="*/ 592751 h 611131"/>
                  <a:gd name="connsiteX1-3" fmla="*/ 0 w 771956"/>
                  <a:gd name="connsiteY1-4" fmla="*/ 583561 h 611131"/>
                  <a:gd name="connsiteX2-5" fmla="*/ 133254 w 771956"/>
                  <a:gd name="connsiteY2-6" fmla="*/ 87304 h 611131"/>
                  <a:gd name="connsiteX3-7" fmla="*/ 349218 w 771956"/>
                  <a:gd name="connsiteY3-8" fmla="*/ 0 h 611131"/>
                  <a:gd name="connsiteX4-9" fmla="*/ 422738 w 771956"/>
                  <a:gd name="connsiteY4-10" fmla="*/ 4595 h 611131"/>
                  <a:gd name="connsiteX5-11" fmla="*/ 634106 w 771956"/>
                  <a:gd name="connsiteY5-12" fmla="*/ 68924 h 611131"/>
                  <a:gd name="connsiteX6-13" fmla="*/ 771956 w 771956"/>
                  <a:gd name="connsiteY6-14" fmla="*/ 588156 h 611131"/>
                  <a:gd name="connsiteX7-15" fmla="*/ 684651 w 771956"/>
                  <a:gd name="connsiteY7-16" fmla="*/ 611131 h 611131"/>
                  <a:gd name="connsiteX8-17" fmla="*/ 583562 w 771956"/>
                  <a:gd name="connsiteY8-18" fmla="*/ 220558 h 611131"/>
                  <a:gd name="connsiteX9-19" fmla="*/ 537612 w 771956"/>
                  <a:gd name="connsiteY9-20" fmla="*/ 238938 h 611131"/>
                  <a:gd name="connsiteX10-21" fmla="*/ 537612 w 771956"/>
                  <a:gd name="connsiteY10-22" fmla="*/ 555992 h 611131"/>
                  <a:gd name="connsiteX11-23" fmla="*/ 225154 w 771956"/>
                  <a:gd name="connsiteY11-24" fmla="*/ 555992 h 611131"/>
                  <a:gd name="connsiteX12-25" fmla="*/ 225154 w 771956"/>
                  <a:gd name="connsiteY12-26" fmla="*/ 229748 h 611131"/>
                  <a:gd name="connsiteX13-27" fmla="*/ 188394 w 771956"/>
                  <a:gd name="connsiteY13-28" fmla="*/ 234343 h 611131"/>
                  <a:gd name="connsiteX14-29" fmla="*/ 101089 w 771956"/>
                  <a:gd name="connsiteY14-30" fmla="*/ 592751 h 611131"/>
                  <a:gd name="connsiteX0-31" fmla="*/ 101089 w 771956"/>
                  <a:gd name="connsiteY0-32" fmla="*/ 592751 h 611131"/>
                  <a:gd name="connsiteX1-33" fmla="*/ 0 w 771956"/>
                  <a:gd name="connsiteY1-34" fmla="*/ 583561 h 611131"/>
                  <a:gd name="connsiteX2-35" fmla="*/ 133254 w 771956"/>
                  <a:gd name="connsiteY2-36" fmla="*/ 87304 h 611131"/>
                  <a:gd name="connsiteX3-37" fmla="*/ 349218 w 771956"/>
                  <a:gd name="connsiteY3-38" fmla="*/ 0 h 611131"/>
                  <a:gd name="connsiteX4-39" fmla="*/ 422738 w 771956"/>
                  <a:gd name="connsiteY4-40" fmla="*/ 4595 h 611131"/>
                  <a:gd name="connsiteX5-41" fmla="*/ 634106 w 771956"/>
                  <a:gd name="connsiteY5-42" fmla="*/ 68924 h 611131"/>
                  <a:gd name="connsiteX6-43" fmla="*/ 771956 w 771956"/>
                  <a:gd name="connsiteY6-44" fmla="*/ 588156 h 611131"/>
                  <a:gd name="connsiteX7-45" fmla="*/ 684651 w 771956"/>
                  <a:gd name="connsiteY7-46" fmla="*/ 611131 h 611131"/>
                  <a:gd name="connsiteX8-47" fmla="*/ 583562 w 771956"/>
                  <a:gd name="connsiteY8-48" fmla="*/ 220558 h 611131"/>
                  <a:gd name="connsiteX9-49" fmla="*/ 537612 w 771956"/>
                  <a:gd name="connsiteY9-50" fmla="*/ 238938 h 611131"/>
                  <a:gd name="connsiteX10-51" fmla="*/ 537612 w 771956"/>
                  <a:gd name="connsiteY10-52" fmla="*/ 555992 h 611131"/>
                  <a:gd name="connsiteX11-53" fmla="*/ 225154 w 771956"/>
                  <a:gd name="connsiteY11-54" fmla="*/ 555992 h 611131"/>
                  <a:gd name="connsiteX12-55" fmla="*/ 225154 w 771956"/>
                  <a:gd name="connsiteY12-56" fmla="*/ 229748 h 611131"/>
                  <a:gd name="connsiteX13-57" fmla="*/ 188394 w 771956"/>
                  <a:gd name="connsiteY13-58" fmla="*/ 234343 h 611131"/>
                  <a:gd name="connsiteX14-59" fmla="*/ 101089 w 771956"/>
                  <a:gd name="connsiteY14-60" fmla="*/ 592751 h 611131"/>
                  <a:gd name="connsiteX0-61" fmla="*/ 101089 w 771956"/>
                  <a:gd name="connsiteY0-62" fmla="*/ 592751 h 611131"/>
                  <a:gd name="connsiteX1-63" fmla="*/ 0 w 771956"/>
                  <a:gd name="connsiteY1-64" fmla="*/ 583561 h 611131"/>
                  <a:gd name="connsiteX2-65" fmla="*/ 133254 w 771956"/>
                  <a:gd name="connsiteY2-66" fmla="*/ 87304 h 611131"/>
                  <a:gd name="connsiteX3-67" fmla="*/ 349218 w 771956"/>
                  <a:gd name="connsiteY3-68" fmla="*/ 0 h 611131"/>
                  <a:gd name="connsiteX4-69" fmla="*/ 422738 w 771956"/>
                  <a:gd name="connsiteY4-70" fmla="*/ 4595 h 611131"/>
                  <a:gd name="connsiteX5-71" fmla="*/ 634106 w 771956"/>
                  <a:gd name="connsiteY5-72" fmla="*/ 68924 h 611131"/>
                  <a:gd name="connsiteX6-73" fmla="*/ 771956 w 771956"/>
                  <a:gd name="connsiteY6-74" fmla="*/ 588156 h 611131"/>
                  <a:gd name="connsiteX7-75" fmla="*/ 684651 w 771956"/>
                  <a:gd name="connsiteY7-76" fmla="*/ 611131 h 611131"/>
                  <a:gd name="connsiteX8-77" fmla="*/ 583562 w 771956"/>
                  <a:gd name="connsiteY8-78" fmla="*/ 220558 h 611131"/>
                  <a:gd name="connsiteX9-79" fmla="*/ 537612 w 771956"/>
                  <a:gd name="connsiteY9-80" fmla="*/ 238938 h 611131"/>
                  <a:gd name="connsiteX10-81" fmla="*/ 537612 w 771956"/>
                  <a:gd name="connsiteY10-82" fmla="*/ 555992 h 611131"/>
                  <a:gd name="connsiteX11-83" fmla="*/ 225154 w 771956"/>
                  <a:gd name="connsiteY11-84" fmla="*/ 555992 h 611131"/>
                  <a:gd name="connsiteX12-85" fmla="*/ 225154 w 771956"/>
                  <a:gd name="connsiteY12-86" fmla="*/ 229748 h 611131"/>
                  <a:gd name="connsiteX13-87" fmla="*/ 188394 w 771956"/>
                  <a:gd name="connsiteY13-88" fmla="*/ 234343 h 611131"/>
                  <a:gd name="connsiteX14-89" fmla="*/ 101089 w 771956"/>
                  <a:gd name="connsiteY14-90" fmla="*/ 592751 h 611131"/>
                  <a:gd name="connsiteX0-91" fmla="*/ 101089 w 771956"/>
                  <a:gd name="connsiteY0-92" fmla="*/ 592751 h 611131"/>
                  <a:gd name="connsiteX1-93" fmla="*/ 0 w 771956"/>
                  <a:gd name="connsiteY1-94" fmla="*/ 583561 h 611131"/>
                  <a:gd name="connsiteX2-95" fmla="*/ 133254 w 771956"/>
                  <a:gd name="connsiteY2-96" fmla="*/ 87304 h 611131"/>
                  <a:gd name="connsiteX3-97" fmla="*/ 349218 w 771956"/>
                  <a:gd name="connsiteY3-98" fmla="*/ 0 h 611131"/>
                  <a:gd name="connsiteX4-99" fmla="*/ 422738 w 771956"/>
                  <a:gd name="connsiteY4-100" fmla="*/ 4595 h 611131"/>
                  <a:gd name="connsiteX5-101" fmla="*/ 634106 w 771956"/>
                  <a:gd name="connsiteY5-102" fmla="*/ 68924 h 611131"/>
                  <a:gd name="connsiteX6-103" fmla="*/ 771956 w 771956"/>
                  <a:gd name="connsiteY6-104" fmla="*/ 588156 h 611131"/>
                  <a:gd name="connsiteX7-105" fmla="*/ 684651 w 771956"/>
                  <a:gd name="connsiteY7-106" fmla="*/ 611131 h 611131"/>
                  <a:gd name="connsiteX8-107" fmla="*/ 583562 w 771956"/>
                  <a:gd name="connsiteY8-108" fmla="*/ 220558 h 611131"/>
                  <a:gd name="connsiteX9-109" fmla="*/ 537612 w 771956"/>
                  <a:gd name="connsiteY9-110" fmla="*/ 238938 h 611131"/>
                  <a:gd name="connsiteX10-111" fmla="*/ 537612 w 771956"/>
                  <a:gd name="connsiteY10-112" fmla="*/ 555992 h 611131"/>
                  <a:gd name="connsiteX11-113" fmla="*/ 225154 w 771956"/>
                  <a:gd name="connsiteY11-114" fmla="*/ 555992 h 611131"/>
                  <a:gd name="connsiteX12-115" fmla="*/ 225154 w 771956"/>
                  <a:gd name="connsiteY12-116" fmla="*/ 229748 h 611131"/>
                  <a:gd name="connsiteX13-117" fmla="*/ 188394 w 771956"/>
                  <a:gd name="connsiteY13-118" fmla="*/ 234343 h 611131"/>
                  <a:gd name="connsiteX14-119" fmla="*/ 101089 w 771956"/>
                  <a:gd name="connsiteY14-120" fmla="*/ 592751 h 611131"/>
                  <a:gd name="connsiteX0-121" fmla="*/ 101089 w 771956"/>
                  <a:gd name="connsiteY0-122" fmla="*/ 592751 h 611131"/>
                  <a:gd name="connsiteX1-123" fmla="*/ 0 w 771956"/>
                  <a:gd name="connsiteY1-124" fmla="*/ 583561 h 611131"/>
                  <a:gd name="connsiteX2-125" fmla="*/ 133254 w 771956"/>
                  <a:gd name="connsiteY2-126" fmla="*/ 87304 h 611131"/>
                  <a:gd name="connsiteX3-127" fmla="*/ 349218 w 771956"/>
                  <a:gd name="connsiteY3-128" fmla="*/ 0 h 611131"/>
                  <a:gd name="connsiteX4-129" fmla="*/ 422738 w 771956"/>
                  <a:gd name="connsiteY4-130" fmla="*/ 2214 h 611131"/>
                  <a:gd name="connsiteX5-131" fmla="*/ 634106 w 771956"/>
                  <a:gd name="connsiteY5-132" fmla="*/ 68924 h 611131"/>
                  <a:gd name="connsiteX6-133" fmla="*/ 771956 w 771956"/>
                  <a:gd name="connsiteY6-134" fmla="*/ 588156 h 611131"/>
                  <a:gd name="connsiteX7-135" fmla="*/ 684651 w 771956"/>
                  <a:gd name="connsiteY7-136" fmla="*/ 611131 h 611131"/>
                  <a:gd name="connsiteX8-137" fmla="*/ 583562 w 771956"/>
                  <a:gd name="connsiteY8-138" fmla="*/ 220558 h 611131"/>
                  <a:gd name="connsiteX9-139" fmla="*/ 537612 w 771956"/>
                  <a:gd name="connsiteY9-140" fmla="*/ 238938 h 611131"/>
                  <a:gd name="connsiteX10-141" fmla="*/ 537612 w 771956"/>
                  <a:gd name="connsiteY10-142" fmla="*/ 555992 h 611131"/>
                  <a:gd name="connsiteX11-143" fmla="*/ 225154 w 771956"/>
                  <a:gd name="connsiteY11-144" fmla="*/ 555992 h 611131"/>
                  <a:gd name="connsiteX12-145" fmla="*/ 225154 w 771956"/>
                  <a:gd name="connsiteY12-146" fmla="*/ 229748 h 611131"/>
                  <a:gd name="connsiteX13-147" fmla="*/ 188394 w 771956"/>
                  <a:gd name="connsiteY13-148" fmla="*/ 234343 h 611131"/>
                  <a:gd name="connsiteX14-149" fmla="*/ 101089 w 771956"/>
                  <a:gd name="connsiteY14-150" fmla="*/ 592751 h 6111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771956" h="611131">
                    <a:moveTo>
                      <a:pt x="101089" y="592751"/>
                    </a:moveTo>
                    <a:lnTo>
                      <a:pt x="0" y="583561"/>
                    </a:lnTo>
                    <a:lnTo>
                      <a:pt x="133254" y="87304"/>
                    </a:lnTo>
                    <a:cubicBezTo>
                      <a:pt x="145711" y="62965"/>
                      <a:pt x="277230" y="29101"/>
                      <a:pt x="349218" y="0"/>
                    </a:cubicBezTo>
                    <a:lnTo>
                      <a:pt x="422738" y="2214"/>
                    </a:lnTo>
                    <a:cubicBezTo>
                      <a:pt x="493194" y="23657"/>
                      <a:pt x="625562" y="47481"/>
                      <a:pt x="634106" y="68924"/>
                    </a:cubicBezTo>
                    <a:lnTo>
                      <a:pt x="771956" y="588156"/>
                    </a:lnTo>
                    <a:lnTo>
                      <a:pt x="684651" y="611131"/>
                    </a:lnTo>
                    <a:lnTo>
                      <a:pt x="583562" y="220558"/>
                    </a:lnTo>
                    <a:cubicBezTo>
                      <a:pt x="573008" y="193347"/>
                      <a:pt x="552929" y="232811"/>
                      <a:pt x="537612" y="238938"/>
                    </a:cubicBezTo>
                    <a:lnTo>
                      <a:pt x="537612" y="555992"/>
                    </a:lnTo>
                    <a:lnTo>
                      <a:pt x="225154" y="555992"/>
                    </a:lnTo>
                    <a:lnTo>
                      <a:pt x="225154" y="229748"/>
                    </a:lnTo>
                    <a:cubicBezTo>
                      <a:pt x="212901" y="231280"/>
                      <a:pt x="198266" y="213761"/>
                      <a:pt x="188394" y="234343"/>
                    </a:cubicBezTo>
                    <a:lnTo>
                      <a:pt x="101089" y="592751"/>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0" name="任意多边形 14"/>
              <p:cNvSpPr/>
              <p:nvPr/>
            </p:nvSpPr>
            <p:spPr>
              <a:xfrm>
                <a:off x="1647825" y="5272089"/>
                <a:ext cx="107156" cy="76972"/>
              </a:xfrm>
              <a:custGeom>
                <a:avLst/>
                <a:gdLst>
                  <a:gd name="connsiteX0" fmla="*/ 107156 w 107156"/>
                  <a:gd name="connsiteY0" fmla="*/ 23812 h 76200"/>
                  <a:gd name="connsiteX1" fmla="*/ 0 w 107156"/>
                  <a:gd name="connsiteY1" fmla="*/ 0 h 76200"/>
                  <a:gd name="connsiteX2" fmla="*/ 42863 w 107156"/>
                  <a:gd name="connsiteY2" fmla="*/ 76200 h 76200"/>
                  <a:gd name="connsiteX3" fmla="*/ 107156 w 107156"/>
                  <a:gd name="connsiteY3" fmla="*/ 23812 h 76200"/>
                  <a:gd name="connsiteX0-1" fmla="*/ 107156 w 107156"/>
                  <a:gd name="connsiteY0-2" fmla="*/ 23812 h 76200"/>
                  <a:gd name="connsiteX1-3" fmla="*/ 0 w 107156"/>
                  <a:gd name="connsiteY1-4" fmla="*/ 0 h 76200"/>
                  <a:gd name="connsiteX2-5" fmla="*/ 42863 w 107156"/>
                  <a:gd name="connsiteY2-6" fmla="*/ 76200 h 76200"/>
                  <a:gd name="connsiteX3-7" fmla="*/ 107156 w 107156"/>
                  <a:gd name="connsiteY3-8" fmla="*/ 23812 h 76200"/>
                  <a:gd name="connsiteX0-9" fmla="*/ 107156 w 107156"/>
                  <a:gd name="connsiteY0-10" fmla="*/ 23812 h 76200"/>
                  <a:gd name="connsiteX1-11" fmla="*/ 0 w 107156"/>
                  <a:gd name="connsiteY1-12" fmla="*/ 0 h 76200"/>
                  <a:gd name="connsiteX2-13" fmla="*/ 42863 w 107156"/>
                  <a:gd name="connsiteY2-14" fmla="*/ 76200 h 76200"/>
                  <a:gd name="connsiteX3-15" fmla="*/ 107156 w 107156"/>
                  <a:gd name="connsiteY3-16" fmla="*/ 23812 h 76200"/>
                  <a:gd name="connsiteX0-17" fmla="*/ 107156 w 107156"/>
                  <a:gd name="connsiteY0-18" fmla="*/ 23812 h 76857"/>
                  <a:gd name="connsiteX1-19" fmla="*/ 0 w 107156"/>
                  <a:gd name="connsiteY1-20" fmla="*/ 0 h 76857"/>
                  <a:gd name="connsiteX2-21" fmla="*/ 42863 w 107156"/>
                  <a:gd name="connsiteY2-22" fmla="*/ 76200 h 76857"/>
                  <a:gd name="connsiteX3-23" fmla="*/ 107156 w 107156"/>
                  <a:gd name="connsiteY3-24" fmla="*/ 23812 h 76857"/>
                  <a:gd name="connsiteX0-25" fmla="*/ 107156 w 107156"/>
                  <a:gd name="connsiteY0-26" fmla="*/ 23812 h 76972"/>
                  <a:gd name="connsiteX1-27" fmla="*/ 0 w 107156"/>
                  <a:gd name="connsiteY1-28" fmla="*/ 0 h 76972"/>
                  <a:gd name="connsiteX2-29" fmla="*/ 42863 w 107156"/>
                  <a:gd name="connsiteY2-30" fmla="*/ 76200 h 76972"/>
                  <a:gd name="connsiteX3-31" fmla="*/ 107156 w 107156"/>
                  <a:gd name="connsiteY3-32" fmla="*/ 23812 h 76972"/>
                </a:gdLst>
                <a:ahLst/>
                <a:cxnLst>
                  <a:cxn ang="0">
                    <a:pos x="connsiteX0-1" y="connsiteY0-2"/>
                  </a:cxn>
                  <a:cxn ang="0">
                    <a:pos x="connsiteX1-3" y="connsiteY1-4"/>
                  </a:cxn>
                  <a:cxn ang="0">
                    <a:pos x="connsiteX2-5" y="connsiteY2-6"/>
                  </a:cxn>
                  <a:cxn ang="0">
                    <a:pos x="connsiteX3-7" y="connsiteY3-8"/>
                  </a:cxn>
                </a:cxnLst>
                <a:rect l="l" t="t" r="r" b="b"/>
                <a:pathLst>
                  <a:path w="107156" h="76972">
                    <a:moveTo>
                      <a:pt x="107156" y="23812"/>
                    </a:moveTo>
                    <a:lnTo>
                      <a:pt x="0" y="0"/>
                    </a:lnTo>
                    <a:cubicBezTo>
                      <a:pt x="1" y="56356"/>
                      <a:pt x="16668" y="67469"/>
                      <a:pt x="42863" y="76200"/>
                    </a:cubicBezTo>
                    <a:cubicBezTo>
                      <a:pt x="73819" y="82549"/>
                      <a:pt x="95250" y="48419"/>
                      <a:pt x="107156" y="23812"/>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 name="任意多边形 15"/>
              <p:cNvSpPr/>
              <p:nvPr/>
            </p:nvSpPr>
            <p:spPr>
              <a:xfrm flipH="1">
                <a:off x="2344848" y="5272089"/>
                <a:ext cx="107156" cy="76972"/>
              </a:xfrm>
              <a:custGeom>
                <a:avLst/>
                <a:gdLst>
                  <a:gd name="connsiteX0" fmla="*/ 107156 w 107156"/>
                  <a:gd name="connsiteY0" fmla="*/ 23812 h 76200"/>
                  <a:gd name="connsiteX1" fmla="*/ 0 w 107156"/>
                  <a:gd name="connsiteY1" fmla="*/ 0 h 76200"/>
                  <a:gd name="connsiteX2" fmla="*/ 42863 w 107156"/>
                  <a:gd name="connsiteY2" fmla="*/ 76200 h 76200"/>
                  <a:gd name="connsiteX3" fmla="*/ 107156 w 107156"/>
                  <a:gd name="connsiteY3" fmla="*/ 23812 h 76200"/>
                  <a:gd name="connsiteX0-1" fmla="*/ 107156 w 107156"/>
                  <a:gd name="connsiteY0-2" fmla="*/ 23812 h 76200"/>
                  <a:gd name="connsiteX1-3" fmla="*/ 0 w 107156"/>
                  <a:gd name="connsiteY1-4" fmla="*/ 0 h 76200"/>
                  <a:gd name="connsiteX2-5" fmla="*/ 42863 w 107156"/>
                  <a:gd name="connsiteY2-6" fmla="*/ 76200 h 76200"/>
                  <a:gd name="connsiteX3-7" fmla="*/ 107156 w 107156"/>
                  <a:gd name="connsiteY3-8" fmla="*/ 23812 h 76200"/>
                  <a:gd name="connsiteX0-9" fmla="*/ 107156 w 107156"/>
                  <a:gd name="connsiteY0-10" fmla="*/ 23812 h 76200"/>
                  <a:gd name="connsiteX1-11" fmla="*/ 0 w 107156"/>
                  <a:gd name="connsiteY1-12" fmla="*/ 0 h 76200"/>
                  <a:gd name="connsiteX2-13" fmla="*/ 42863 w 107156"/>
                  <a:gd name="connsiteY2-14" fmla="*/ 76200 h 76200"/>
                  <a:gd name="connsiteX3-15" fmla="*/ 107156 w 107156"/>
                  <a:gd name="connsiteY3-16" fmla="*/ 23812 h 76200"/>
                  <a:gd name="connsiteX0-17" fmla="*/ 107156 w 107156"/>
                  <a:gd name="connsiteY0-18" fmla="*/ 23812 h 76857"/>
                  <a:gd name="connsiteX1-19" fmla="*/ 0 w 107156"/>
                  <a:gd name="connsiteY1-20" fmla="*/ 0 h 76857"/>
                  <a:gd name="connsiteX2-21" fmla="*/ 42863 w 107156"/>
                  <a:gd name="connsiteY2-22" fmla="*/ 76200 h 76857"/>
                  <a:gd name="connsiteX3-23" fmla="*/ 107156 w 107156"/>
                  <a:gd name="connsiteY3-24" fmla="*/ 23812 h 76857"/>
                  <a:gd name="connsiteX0-25" fmla="*/ 107156 w 107156"/>
                  <a:gd name="connsiteY0-26" fmla="*/ 23812 h 76972"/>
                  <a:gd name="connsiteX1-27" fmla="*/ 0 w 107156"/>
                  <a:gd name="connsiteY1-28" fmla="*/ 0 h 76972"/>
                  <a:gd name="connsiteX2-29" fmla="*/ 42863 w 107156"/>
                  <a:gd name="connsiteY2-30" fmla="*/ 76200 h 76972"/>
                  <a:gd name="connsiteX3-31" fmla="*/ 107156 w 107156"/>
                  <a:gd name="connsiteY3-32" fmla="*/ 23812 h 76972"/>
                </a:gdLst>
                <a:ahLst/>
                <a:cxnLst>
                  <a:cxn ang="0">
                    <a:pos x="connsiteX0-1" y="connsiteY0-2"/>
                  </a:cxn>
                  <a:cxn ang="0">
                    <a:pos x="connsiteX1-3" y="connsiteY1-4"/>
                  </a:cxn>
                  <a:cxn ang="0">
                    <a:pos x="connsiteX2-5" y="connsiteY2-6"/>
                  </a:cxn>
                  <a:cxn ang="0">
                    <a:pos x="connsiteX3-7" y="connsiteY3-8"/>
                  </a:cxn>
                </a:cxnLst>
                <a:rect l="l" t="t" r="r" b="b"/>
                <a:pathLst>
                  <a:path w="107156" h="76972">
                    <a:moveTo>
                      <a:pt x="107156" y="23812"/>
                    </a:moveTo>
                    <a:lnTo>
                      <a:pt x="0" y="0"/>
                    </a:lnTo>
                    <a:cubicBezTo>
                      <a:pt x="1" y="56356"/>
                      <a:pt x="16668" y="67469"/>
                      <a:pt x="42863" y="76200"/>
                    </a:cubicBezTo>
                    <a:cubicBezTo>
                      <a:pt x="73819" y="82549"/>
                      <a:pt x="95250" y="48419"/>
                      <a:pt x="107156" y="23812"/>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 name="任意多边形 16"/>
              <p:cNvSpPr/>
              <p:nvPr/>
            </p:nvSpPr>
            <p:spPr>
              <a:xfrm>
                <a:off x="2350293" y="5366534"/>
                <a:ext cx="113830" cy="412760"/>
              </a:xfrm>
              <a:custGeom>
                <a:avLst/>
                <a:gdLst>
                  <a:gd name="connsiteX0" fmla="*/ 34055 w 113830"/>
                  <a:gd name="connsiteY0" fmla="*/ 0 h 412760"/>
                  <a:gd name="connsiteX1" fmla="*/ 79774 w 113830"/>
                  <a:gd name="connsiteY1" fmla="*/ 0 h 412760"/>
                  <a:gd name="connsiteX2" fmla="*/ 79774 w 113830"/>
                  <a:gd name="connsiteY2" fmla="*/ 17472 h 412760"/>
                  <a:gd name="connsiteX3" fmla="*/ 94858 w 113830"/>
                  <a:gd name="connsiteY3" fmla="*/ 17472 h 412760"/>
                  <a:gd name="connsiteX4" fmla="*/ 113830 w 113830"/>
                  <a:gd name="connsiteY4" fmla="*/ 36444 h 412760"/>
                  <a:gd name="connsiteX5" fmla="*/ 113830 w 113830"/>
                  <a:gd name="connsiteY5" fmla="*/ 393788 h 412760"/>
                  <a:gd name="connsiteX6" fmla="*/ 94858 w 113830"/>
                  <a:gd name="connsiteY6" fmla="*/ 412760 h 412760"/>
                  <a:gd name="connsiteX7" fmla="*/ 18972 w 113830"/>
                  <a:gd name="connsiteY7" fmla="*/ 412760 h 412760"/>
                  <a:gd name="connsiteX8" fmla="*/ 0 w 113830"/>
                  <a:gd name="connsiteY8" fmla="*/ 393788 h 412760"/>
                  <a:gd name="connsiteX9" fmla="*/ 0 w 113830"/>
                  <a:gd name="connsiteY9" fmla="*/ 36444 h 412760"/>
                  <a:gd name="connsiteX10" fmla="*/ 18972 w 113830"/>
                  <a:gd name="connsiteY10" fmla="*/ 17472 h 412760"/>
                  <a:gd name="connsiteX11" fmla="*/ 34055 w 113830"/>
                  <a:gd name="connsiteY11" fmla="*/ 17472 h 41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830" h="412760">
                    <a:moveTo>
                      <a:pt x="34055" y="0"/>
                    </a:moveTo>
                    <a:lnTo>
                      <a:pt x="79774" y="0"/>
                    </a:lnTo>
                    <a:lnTo>
                      <a:pt x="79774" y="17472"/>
                    </a:lnTo>
                    <a:lnTo>
                      <a:pt x="94858" y="17472"/>
                    </a:lnTo>
                    <a:cubicBezTo>
                      <a:pt x="105336" y="17472"/>
                      <a:pt x="113830" y="25966"/>
                      <a:pt x="113830" y="36444"/>
                    </a:cubicBezTo>
                    <a:lnTo>
                      <a:pt x="113830" y="393788"/>
                    </a:lnTo>
                    <a:cubicBezTo>
                      <a:pt x="113830" y="404266"/>
                      <a:pt x="105336" y="412760"/>
                      <a:pt x="94858" y="412760"/>
                    </a:cubicBezTo>
                    <a:lnTo>
                      <a:pt x="18972" y="412760"/>
                    </a:lnTo>
                    <a:cubicBezTo>
                      <a:pt x="8494" y="412760"/>
                      <a:pt x="0" y="404266"/>
                      <a:pt x="0" y="393788"/>
                    </a:cubicBezTo>
                    <a:lnTo>
                      <a:pt x="0" y="36444"/>
                    </a:lnTo>
                    <a:cubicBezTo>
                      <a:pt x="0" y="25966"/>
                      <a:pt x="8494" y="17472"/>
                      <a:pt x="18972" y="17472"/>
                    </a:cubicBezTo>
                    <a:lnTo>
                      <a:pt x="34055" y="17472"/>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 name="任意多边形 17"/>
              <p:cNvSpPr/>
              <p:nvPr/>
            </p:nvSpPr>
            <p:spPr>
              <a:xfrm>
                <a:off x="1900234" y="5253040"/>
                <a:ext cx="311951" cy="728962"/>
              </a:xfrm>
              <a:custGeom>
                <a:avLst/>
                <a:gdLst>
                  <a:gd name="connsiteX0" fmla="*/ 311943 w 311943"/>
                  <a:gd name="connsiteY0" fmla="*/ 647700 h 669131"/>
                  <a:gd name="connsiteX1" fmla="*/ 311943 w 311943"/>
                  <a:gd name="connsiteY1" fmla="*/ 0 h 669131"/>
                  <a:gd name="connsiteX2" fmla="*/ 0 w 311943"/>
                  <a:gd name="connsiteY2" fmla="*/ 0 h 669131"/>
                  <a:gd name="connsiteX3" fmla="*/ 0 w 311943"/>
                  <a:gd name="connsiteY3" fmla="*/ 669131 h 669131"/>
                  <a:gd name="connsiteX4" fmla="*/ 111918 w 311943"/>
                  <a:gd name="connsiteY4" fmla="*/ 669131 h 669131"/>
                  <a:gd name="connsiteX5" fmla="*/ 111918 w 311943"/>
                  <a:gd name="connsiteY5" fmla="*/ 92868 h 669131"/>
                  <a:gd name="connsiteX6" fmla="*/ 192881 w 311943"/>
                  <a:gd name="connsiteY6" fmla="*/ 92868 h 669131"/>
                  <a:gd name="connsiteX7" fmla="*/ 192881 w 311943"/>
                  <a:gd name="connsiteY7" fmla="*/ 652462 h 669131"/>
                  <a:gd name="connsiteX8" fmla="*/ 311943 w 311943"/>
                  <a:gd name="connsiteY8" fmla="*/ 647700 h 669131"/>
                  <a:gd name="connsiteX0-1" fmla="*/ 312037 w 312037"/>
                  <a:gd name="connsiteY0-2" fmla="*/ 647700 h 695589"/>
                  <a:gd name="connsiteX1-3" fmla="*/ 312037 w 312037"/>
                  <a:gd name="connsiteY1-4" fmla="*/ 0 h 695589"/>
                  <a:gd name="connsiteX2-5" fmla="*/ 94 w 312037"/>
                  <a:gd name="connsiteY2-6" fmla="*/ 0 h 695589"/>
                  <a:gd name="connsiteX3-7" fmla="*/ 94 w 312037"/>
                  <a:gd name="connsiteY3-8" fmla="*/ 669131 h 695589"/>
                  <a:gd name="connsiteX4-9" fmla="*/ 112012 w 312037"/>
                  <a:gd name="connsiteY4-10" fmla="*/ 669131 h 695589"/>
                  <a:gd name="connsiteX5-11" fmla="*/ 112012 w 312037"/>
                  <a:gd name="connsiteY5-12" fmla="*/ 92868 h 695589"/>
                  <a:gd name="connsiteX6-13" fmla="*/ 192975 w 312037"/>
                  <a:gd name="connsiteY6-14" fmla="*/ 92868 h 695589"/>
                  <a:gd name="connsiteX7-15" fmla="*/ 192975 w 312037"/>
                  <a:gd name="connsiteY7-16" fmla="*/ 652462 h 695589"/>
                  <a:gd name="connsiteX8-17" fmla="*/ 312037 w 312037"/>
                  <a:gd name="connsiteY8-18" fmla="*/ 647700 h 695589"/>
                  <a:gd name="connsiteX0-19" fmla="*/ 312010 w 312010"/>
                  <a:gd name="connsiteY0-20" fmla="*/ 647700 h 712012"/>
                  <a:gd name="connsiteX1-21" fmla="*/ 312010 w 312010"/>
                  <a:gd name="connsiteY1-22" fmla="*/ 0 h 712012"/>
                  <a:gd name="connsiteX2-23" fmla="*/ 67 w 312010"/>
                  <a:gd name="connsiteY2-24" fmla="*/ 0 h 712012"/>
                  <a:gd name="connsiteX3-25" fmla="*/ 67 w 312010"/>
                  <a:gd name="connsiteY3-26" fmla="*/ 669131 h 712012"/>
                  <a:gd name="connsiteX4-27" fmla="*/ 111985 w 312010"/>
                  <a:gd name="connsiteY4-28" fmla="*/ 669131 h 712012"/>
                  <a:gd name="connsiteX5-29" fmla="*/ 111985 w 312010"/>
                  <a:gd name="connsiteY5-30" fmla="*/ 92868 h 712012"/>
                  <a:gd name="connsiteX6-31" fmla="*/ 192948 w 312010"/>
                  <a:gd name="connsiteY6-32" fmla="*/ 92868 h 712012"/>
                  <a:gd name="connsiteX7-33" fmla="*/ 192948 w 312010"/>
                  <a:gd name="connsiteY7-34" fmla="*/ 652462 h 712012"/>
                  <a:gd name="connsiteX8-35" fmla="*/ 312010 w 312010"/>
                  <a:gd name="connsiteY8-36" fmla="*/ 647700 h 712012"/>
                  <a:gd name="connsiteX0-37" fmla="*/ 312010 w 312010"/>
                  <a:gd name="connsiteY0-38" fmla="*/ 647700 h 712012"/>
                  <a:gd name="connsiteX1-39" fmla="*/ 312010 w 312010"/>
                  <a:gd name="connsiteY1-40" fmla="*/ 0 h 712012"/>
                  <a:gd name="connsiteX2-41" fmla="*/ 67 w 312010"/>
                  <a:gd name="connsiteY2-42" fmla="*/ 0 h 712012"/>
                  <a:gd name="connsiteX3-43" fmla="*/ 67 w 312010"/>
                  <a:gd name="connsiteY3-44" fmla="*/ 669131 h 712012"/>
                  <a:gd name="connsiteX4-45" fmla="*/ 111985 w 312010"/>
                  <a:gd name="connsiteY4-46" fmla="*/ 669131 h 712012"/>
                  <a:gd name="connsiteX5-47" fmla="*/ 111985 w 312010"/>
                  <a:gd name="connsiteY5-48" fmla="*/ 92868 h 712012"/>
                  <a:gd name="connsiteX6-49" fmla="*/ 192948 w 312010"/>
                  <a:gd name="connsiteY6-50" fmla="*/ 92868 h 712012"/>
                  <a:gd name="connsiteX7-51" fmla="*/ 192948 w 312010"/>
                  <a:gd name="connsiteY7-52" fmla="*/ 652462 h 712012"/>
                  <a:gd name="connsiteX8-53" fmla="*/ 312010 w 312010"/>
                  <a:gd name="connsiteY8-54" fmla="*/ 647700 h 712012"/>
                  <a:gd name="connsiteX0-55" fmla="*/ 312010 w 312013"/>
                  <a:gd name="connsiteY0-56" fmla="*/ 647700 h 719108"/>
                  <a:gd name="connsiteX1-57" fmla="*/ 312010 w 312013"/>
                  <a:gd name="connsiteY1-58" fmla="*/ 0 h 719108"/>
                  <a:gd name="connsiteX2-59" fmla="*/ 67 w 312013"/>
                  <a:gd name="connsiteY2-60" fmla="*/ 0 h 719108"/>
                  <a:gd name="connsiteX3-61" fmla="*/ 67 w 312013"/>
                  <a:gd name="connsiteY3-62" fmla="*/ 669131 h 719108"/>
                  <a:gd name="connsiteX4-63" fmla="*/ 111985 w 312013"/>
                  <a:gd name="connsiteY4-64" fmla="*/ 669131 h 719108"/>
                  <a:gd name="connsiteX5-65" fmla="*/ 111985 w 312013"/>
                  <a:gd name="connsiteY5-66" fmla="*/ 92868 h 719108"/>
                  <a:gd name="connsiteX6-67" fmla="*/ 192948 w 312013"/>
                  <a:gd name="connsiteY6-68" fmla="*/ 92868 h 719108"/>
                  <a:gd name="connsiteX7-69" fmla="*/ 192948 w 312013"/>
                  <a:gd name="connsiteY7-70" fmla="*/ 652462 h 719108"/>
                  <a:gd name="connsiteX8-71" fmla="*/ 312010 w 312013"/>
                  <a:gd name="connsiteY8-72" fmla="*/ 647700 h 719108"/>
                  <a:gd name="connsiteX0-73" fmla="*/ 311948 w 311951"/>
                  <a:gd name="connsiteY0-74" fmla="*/ 647700 h 720495"/>
                  <a:gd name="connsiteX1-75" fmla="*/ 311948 w 311951"/>
                  <a:gd name="connsiteY1-76" fmla="*/ 0 h 720495"/>
                  <a:gd name="connsiteX2-77" fmla="*/ 5 w 311951"/>
                  <a:gd name="connsiteY2-78" fmla="*/ 0 h 720495"/>
                  <a:gd name="connsiteX3-79" fmla="*/ 5 w 311951"/>
                  <a:gd name="connsiteY3-80" fmla="*/ 669131 h 720495"/>
                  <a:gd name="connsiteX4-81" fmla="*/ 111923 w 311951"/>
                  <a:gd name="connsiteY4-82" fmla="*/ 669131 h 720495"/>
                  <a:gd name="connsiteX5-83" fmla="*/ 111923 w 311951"/>
                  <a:gd name="connsiteY5-84" fmla="*/ 92868 h 720495"/>
                  <a:gd name="connsiteX6-85" fmla="*/ 192886 w 311951"/>
                  <a:gd name="connsiteY6-86" fmla="*/ 92868 h 720495"/>
                  <a:gd name="connsiteX7-87" fmla="*/ 192886 w 311951"/>
                  <a:gd name="connsiteY7-88" fmla="*/ 652462 h 720495"/>
                  <a:gd name="connsiteX8-89" fmla="*/ 311948 w 311951"/>
                  <a:gd name="connsiteY8-90" fmla="*/ 647700 h 720495"/>
                  <a:gd name="connsiteX0-91" fmla="*/ 311948 w 311951"/>
                  <a:gd name="connsiteY0-92" fmla="*/ 647700 h 728962"/>
                  <a:gd name="connsiteX1-93" fmla="*/ 311948 w 311951"/>
                  <a:gd name="connsiteY1-94" fmla="*/ 0 h 728962"/>
                  <a:gd name="connsiteX2-95" fmla="*/ 5 w 311951"/>
                  <a:gd name="connsiteY2-96" fmla="*/ 0 h 728962"/>
                  <a:gd name="connsiteX3-97" fmla="*/ 5 w 311951"/>
                  <a:gd name="connsiteY3-98" fmla="*/ 669131 h 728962"/>
                  <a:gd name="connsiteX4-99" fmla="*/ 111923 w 311951"/>
                  <a:gd name="connsiteY4-100" fmla="*/ 669131 h 728962"/>
                  <a:gd name="connsiteX5-101" fmla="*/ 111923 w 311951"/>
                  <a:gd name="connsiteY5-102" fmla="*/ 92868 h 728962"/>
                  <a:gd name="connsiteX6-103" fmla="*/ 192886 w 311951"/>
                  <a:gd name="connsiteY6-104" fmla="*/ 92868 h 728962"/>
                  <a:gd name="connsiteX7-105" fmla="*/ 192886 w 311951"/>
                  <a:gd name="connsiteY7-106" fmla="*/ 652462 h 728962"/>
                  <a:gd name="connsiteX8-107" fmla="*/ 311948 w 311951"/>
                  <a:gd name="connsiteY8-108" fmla="*/ 647700 h 72896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311951" h="728962">
                    <a:moveTo>
                      <a:pt x="311948" y="647700"/>
                    </a:moveTo>
                    <a:lnTo>
                      <a:pt x="311948" y="0"/>
                    </a:lnTo>
                    <a:lnTo>
                      <a:pt x="5" y="0"/>
                    </a:lnTo>
                    <a:lnTo>
                      <a:pt x="5" y="669131"/>
                    </a:lnTo>
                    <a:cubicBezTo>
                      <a:pt x="-789" y="750093"/>
                      <a:pt x="107955" y="747712"/>
                      <a:pt x="111923" y="669131"/>
                    </a:cubicBezTo>
                    <a:lnTo>
                      <a:pt x="111923" y="92868"/>
                    </a:lnTo>
                    <a:lnTo>
                      <a:pt x="192886" y="92868"/>
                    </a:lnTo>
                    <a:lnTo>
                      <a:pt x="192886" y="652462"/>
                    </a:lnTo>
                    <a:cubicBezTo>
                      <a:pt x="192091" y="750888"/>
                      <a:pt x="312742" y="732630"/>
                      <a:pt x="311948" y="64770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sp>
          <p:nvSpPr>
            <p:cNvPr id="16" name="Freeform 33"/>
            <p:cNvSpPr>
              <a:spLocks noEditPoints="1"/>
            </p:cNvSpPr>
            <p:nvPr/>
          </p:nvSpPr>
          <p:spPr bwMode="auto">
            <a:xfrm>
              <a:off x="1472989" y="2861978"/>
              <a:ext cx="529919" cy="497683"/>
            </a:xfrm>
            <a:custGeom>
              <a:avLst/>
              <a:gdLst>
                <a:gd name="T0" fmla="*/ 21 w 643"/>
                <a:gd name="T1" fmla="*/ 477 h 603"/>
                <a:gd name="T2" fmla="*/ 459 w 643"/>
                <a:gd name="T3" fmla="*/ 359 h 603"/>
                <a:gd name="T4" fmla="*/ 420 w 643"/>
                <a:gd name="T5" fmla="*/ 494 h 603"/>
                <a:gd name="T6" fmla="*/ 407 w 643"/>
                <a:gd name="T7" fmla="*/ 377 h 603"/>
                <a:gd name="T8" fmla="*/ 408 w 643"/>
                <a:gd name="T9" fmla="*/ 272 h 603"/>
                <a:gd name="T10" fmla="*/ 397 w 643"/>
                <a:gd name="T11" fmla="*/ 276 h 603"/>
                <a:gd name="T12" fmla="*/ 405 w 643"/>
                <a:gd name="T13" fmla="*/ 292 h 603"/>
                <a:gd name="T14" fmla="*/ 415 w 643"/>
                <a:gd name="T15" fmla="*/ 288 h 603"/>
                <a:gd name="T16" fmla="*/ 356 w 643"/>
                <a:gd name="T17" fmla="*/ 302 h 603"/>
                <a:gd name="T18" fmla="*/ 360 w 643"/>
                <a:gd name="T19" fmla="*/ 322 h 603"/>
                <a:gd name="T20" fmla="*/ 368 w 643"/>
                <a:gd name="T21" fmla="*/ 315 h 603"/>
                <a:gd name="T22" fmla="*/ 324 w 643"/>
                <a:gd name="T23" fmla="*/ 341 h 603"/>
                <a:gd name="T24" fmla="*/ 319 w 643"/>
                <a:gd name="T25" fmla="*/ 351 h 603"/>
                <a:gd name="T26" fmla="*/ 335 w 643"/>
                <a:gd name="T27" fmla="*/ 359 h 603"/>
                <a:gd name="T28" fmla="*/ 340 w 643"/>
                <a:gd name="T29" fmla="*/ 349 h 603"/>
                <a:gd name="T30" fmla="*/ 305 w 643"/>
                <a:gd name="T31" fmla="*/ 399 h 603"/>
                <a:gd name="T32" fmla="*/ 322 w 643"/>
                <a:gd name="T33" fmla="*/ 411 h 603"/>
                <a:gd name="T34" fmla="*/ 323 w 643"/>
                <a:gd name="T35" fmla="*/ 400 h 603"/>
                <a:gd name="T36" fmla="*/ 308 w 643"/>
                <a:gd name="T37" fmla="*/ 450 h 603"/>
                <a:gd name="T38" fmla="*/ 311 w 643"/>
                <a:gd name="T39" fmla="*/ 461 h 603"/>
                <a:gd name="T40" fmla="*/ 327 w 643"/>
                <a:gd name="T41" fmla="*/ 455 h 603"/>
                <a:gd name="T42" fmla="*/ 324 w 643"/>
                <a:gd name="T43" fmla="*/ 444 h 603"/>
                <a:gd name="T44" fmla="*/ 332 w 643"/>
                <a:gd name="T45" fmla="*/ 505 h 603"/>
                <a:gd name="T46" fmla="*/ 353 w 643"/>
                <a:gd name="T47" fmla="*/ 503 h 603"/>
                <a:gd name="T48" fmla="*/ 346 w 643"/>
                <a:gd name="T49" fmla="*/ 495 h 603"/>
                <a:gd name="T50" fmla="*/ 367 w 643"/>
                <a:gd name="T51" fmla="*/ 541 h 603"/>
                <a:gd name="T52" fmla="*/ 377 w 643"/>
                <a:gd name="T53" fmla="*/ 547 h 603"/>
                <a:gd name="T54" fmla="*/ 386 w 643"/>
                <a:gd name="T55" fmla="*/ 532 h 603"/>
                <a:gd name="T56" fmla="*/ 377 w 643"/>
                <a:gd name="T57" fmla="*/ 526 h 603"/>
                <a:gd name="T58" fmla="*/ 423 w 643"/>
                <a:gd name="T59" fmla="*/ 566 h 603"/>
                <a:gd name="T60" fmla="*/ 434 w 643"/>
                <a:gd name="T61" fmla="*/ 568 h 603"/>
                <a:gd name="T62" fmla="*/ 427 w 643"/>
                <a:gd name="T63" fmla="*/ 549 h 603"/>
                <a:gd name="T64" fmla="*/ 472 w 643"/>
                <a:gd name="T65" fmla="*/ 569 h 603"/>
                <a:gd name="T66" fmla="*/ 484 w 643"/>
                <a:gd name="T67" fmla="*/ 568 h 603"/>
                <a:gd name="T68" fmla="*/ 483 w 643"/>
                <a:gd name="T69" fmla="*/ 550 h 603"/>
                <a:gd name="T70" fmla="*/ 472 w 643"/>
                <a:gd name="T71" fmla="*/ 552 h 603"/>
                <a:gd name="T72" fmla="*/ 530 w 643"/>
                <a:gd name="T73" fmla="*/ 551 h 603"/>
                <a:gd name="T74" fmla="*/ 540 w 643"/>
                <a:gd name="T75" fmla="*/ 545 h 603"/>
                <a:gd name="T76" fmla="*/ 524 w 643"/>
                <a:gd name="T77" fmla="*/ 535 h 603"/>
                <a:gd name="T78" fmla="*/ 570 w 643"/>
                <a:gd name="T79" fmla="*/ 521 h 603"/>
                <a:gd name="T80" fmla="*/ 577 w 643"/>
                <a:gd name="T81" fmla="*/ 512 h 603"/>
                <a:gd name="T82" fmla="*/ 565 w 643"/>
                <a:gd name="T83" fmla="*/ 499 h 603"/>
                <a:gd name="T84" fmla="*/ 559 w 643"/>
                <a:gd name="T85" fmla="*/ 507 h 603"/>
                <a:gd name="T86" fmla="*/ 601 w 643"/>
                <a:gd name="T87" fmla="*/ 469 h 603"/>
                <a:gd name="T88" fmla="*/ 605 w 643"/>
                <a:gd name="T89" fmla="*/ 457 h 603"/>
                <a:gd name="T90" fmla="*/ 586 w 643"/>
                <a:gd name="T91" fmla="*/ 459 h 603"/>
                <a:gd name="T92" fmla="*/ 610 w 643"/>
                <a:gd name="T93" fmla="*/ 419 h 603"/>
                <a:gd name="T94" fmla="*/ 610 w 643"/>
                <a:gd name="T95" fmla="*/ 408 h 603"/>
                <a:gd name="T96" fmla="*/ 592 w 643"/>
                <a:gd name="T97" fmla="*/ 406 h 603"/>
                <a:gd name="T98" fmla="*/ 593 w 643"/>
                <a:gd name="T99" fmla="*/ 417 h 603"/>
                <a:gd name="T100" fmla="*/ 599 w 643"/>
                <a:gd name="T101" fmla="*/ 358 h 603"/>
                <a:gd name="T102" fmla="*/ 594 w 643"/>
                <a:gd name="T103" fmla="*/ 347 h 603"/>
                <a:gd name="T104" fmla="*/ 581 w 643"/>
                <a:gd name="T105" fmla="*/ 363 h 603"/>
                <a:gd name="T106" fmla="*/ 573 w 643"/>
                <a:gd name="T107" fmla="*/ 316 h 603"/>
                <a:gd name="T108" fmla="*/ 565 w 643"/>
                <a:gd name="T109" fmla="*/ 308 h 603"/>
                <a:gd name="T110" fmla="*/ 550 w 643"/>
                <a:gd name="T111" fmla="*/ 318 h 603"/>
                <a:gd name="T112" fmla="*/ 557 w 643"/>
                <a:gd name="T113" fmla="*/ 326 h 603"/>
                <a:gd name="T114" fmla="*/ 524 w 643"/>
                <a:gd name="T115" fmla="*/ 279 h 603"/>
                <a:gd name="T116" fmla="*/ 513 w 643"/>
                <a:gd name="T117" fmla="*/ 274 h 603"/>
                <a:gd name="T118" fmla="*/ 513 w 643"/>
                <a:gd name="T119" fmla="*/ 293 h 603"/>
                <a:gd name="T120" fmla="*/ 457 w 643"/>
                <a:gd name="T121" fmla="*/ 231 h 603"/>
                <a:gd name="T122" fmla="*/ 358 w 643"/>
                <a:gd name="T123" fmla="*/ 9 h 603"/>
                <a:gd name="T124" fmla="*/ 30 w 643"/>
                <a:gd name="T125" fmla="*/ 153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603">
                  <a:moveTo>
                    <a:pt x="51" y="448"/>
                  </a:moveTo>
                  <a:cubicBezTo>
                    <a:pt x="83" y="445"/>
                    <a:pt x="115" y="443"/>
                    <a:pt x="147" y="442"/>
                  </a:cubicBezTo>
                  <a:cubicBezTo>
                    <a:pt x="127" y="440"/>
                    <a:pt x="108" y="439"/>
                    <a:pt x="88" y="436"/>
                  </a:cubicBezTo>
                  <a:cubicBezTo>
                    <a:pt x="72" y="435"/>
                    <a:pt x="59" y="423"/>
                    <a:pt x="59" y="407"/>
                  </a:cubicBezTo>
                  <a:cubicBezTo>
                    <a:pt x="59" y="383"/>
                    <a:pt x="59" y="359"/>
                    <a:pt x="59" y="335"/>
                  </a:cubicBezTo>
                  <a:cubicBezTo>
                    <a:pt x="59" y="318"/>
                    <a:pt x="72" y="306"/>
                    <a:pt x="88" y="305"/>
                  </a:cubicBezTo>
                  <a:cubicBezTo>
                    <a:pt x="148" y="299"/>
                    <a:pt x="207" y="297"/>
                    <a:pt x="267" y="298"/>
                  </a:cubicBezTo>
                  <a:cubicBezTo>
                    <a:pt x="245" y="333"/>
                    <a:pt x="233" y="373"/>
                    <a:pt x="233" y="417"/>
                  </a:cubicBezTo>
                  <a:cubicBezTo>
                    <a:pt x="233" y="479"/>
                    <a:pt x="258" y="535"/>
                    <a:pt x="299" y="575"/>
                  </a:cubicBezTo>
                  <a:cubicBezTo>
                    <a:pt x="301" y="578"/>
                    <a:pt x="304" y="581"/>
                    <a:pt x="306" y="583"/>
                  </a:cubicBezTo>
                  <a:cubicBezTo>
                    <a:pt x="221" y="590"/>
                    <a:pt x="136" y="588"/>
                    <a:pt x="51" y="579"/>
                  </a:cubicBezTo>
                  <a:cubicBezTo>
                    <a:pt x="35" y="578"/>
                    <a:pt x="21" y="566"/>
                    <a:pt x="21" y="549"/>
                  </a:cubicBezTo>
                  <a:cubicBezTo>
                    <a:pt x="21" y="526"/>
                    <a:pt x="21" y="501"/>
                    <a:pt x="21" y="477"/>
                  </a:cubicBezTo>
                  <a:cubicBezTo>
                    <a:pt x="21" y="461"/>
                    <a:pt x="35" y="449"/>
                    <a:pt x="51" y="448"/>
                  </a:cubicBezTo>
                  <a:close/>
                  <a:moveTo>
                    <a:pt x="442" y="265"/>
                  </a:moveTo>
                  <a:lnTo>
                    <a:pt x="442" y="265"/>
                  </a:lnTo>
                  <a:cubicBezTo>
                    <a:pt x="454" y="263"/>
                    <a:pt x="467" y="262"/>
                    <a:pt x="479" y="265"/>
                  </a:cubicBezTo>
                  <a:cubicBezTo>
                    <a:pt x="478" y="271"/>
                    <a:pt x="478" y="278"/>
                    <a:pt x="477" y="284"/>
                  </a:cubicBezTo>
                  <a:cubicBezTo>
                    <a:pt x="466" y="283"/>
                    <a:pt x="455" y="283"/>
                    <a:pt x="444" y="284"/>
                  </a:cubicBezTo>
                  <a:cubicBezTo>
                    <a:pt x="443" y="278"/>
                    <a:pt x="443" y="271"/>
                    <a:pt x="442" y="265"/>
                  </a:cubicBezTo>
                  <a:close/>
                  <a:moveTo>
                    <a:pt x="510" y="384"/>
                  </a:moveTo>
                  <a:lnTo>
                    <a:pt x="510" y="384"/>
                  </a:lnTo>
                  <a:lnTo>
                    <a:pt x="467" y="384"/>
                  </a:lnTo>
                  <a:lnTo>
                    <a:pt x="467" y="377"/>
                  </a:lnTo>
                  <a:cubicBezTo>
                    <a:pt x="467" y="369"/>
                    <a:pt x="466" y="364"/>
                    <a:pt x="465" y="362"/>
                  </a:cubicBezTo>
                  <a:cubicBezTo>
                    <a:pt x="464" y="360"/>
                    <a:pt x="462" y="359"/>
                    <a:pt x="459" y="359"/>
                  </a:cubicBezTo>
                  <a:cubicBezTo>
                    <a:pt x="456" y="359"/>
                    <a:pt x="454" y="359"/>
                    <a:pt x="453" y="362"/>
                  </a:cubicBezTo>
                  <a:cubicBezTo>
                    <a:pt x="452" y="364"/>
                    <a:pt x="451" y="367"/>
                    <a:pt x="451" y="371"/>
                  </a:cubicBezTo>
                  <a:cubicBezTo>
                    <a:pt x="451" y="377"/>
                    <a:pt x="452" y="382"/>
                    <a:pt x="455" y="385"/>
                  </a:cubicBezTo>
                  <a:cubicBezTo>
                    <a:pt x="458" y="388"/>
                    <a:pt x="466" y="393"/>
                    <a:pt x="478" y="401"/>
                  </a:cubicBezTo>
                  <a:cubicBezTo>
                    <a:pt x="489" y="407"/>
                    <a:pt x="497" y="413"/>
                    <a:pt x="501" y="416"/>
                  </a:cubicBezTo>
                  <a:cubicBezTo>
                    <a:pt x="505" y="420"/>
                    <a:pt x="508" y="425"/>
                    <a:pt x="511" y="431"/>
                  </a:cubicBezTo>
                  <a:cubicBezTo>
                    <a:pt x="514" y="437"/>
                    <a:pt x="515" y="445"/>
                    <a:pt x="515" y="455"/>
                  </a:cubicBezTo>
                  <a:cubicBezTo>
                    <a:pt x="515" y="471"/>
                    <a:pt x="512" y="483"/>
                    <a:pt x="504" y="491"/>
                  </a:cubicBezTo>
                  <a:cubicBezTo>
                    <a:pt x="497" y="500"/>
                    <a:pt x="485" y="506"/>
                    <a:pt x="471" y="508"/>
                  </a:cubicBezTo>
                  <a:lnTo>
                    <a:pt x="471" y="524"/>
                  </a:lnTo>
                  <a:lnTo>
                    <a:pt x="451" y="524"/>
                  </a:lnTo>
                  <a:lnTo>
                    <a:pt x="451" y="507"/>
                  </a:lnTo>
                  <a:cubicBezTo>
                    <a:pt x="439" y="506"/>
                    <a:pt x="429" y="502"/>
                    <a:pt x="420" y="494"/>
                  </a:cubicBezTo>
                  <a:cubicBezTo>
                    <a:pt x="412" y="486"/>
                    <a:pt x="407" y="473"/>
                    <a:pt x="407" y="453"/>
                  </a:cubicBezTo>
                  <a:lnTo>
                    <a:pt x="407" y="445"/>
                  </a:lnTo>
                  <a:lnTo>
                    <a:pt x="451" y="445"/>
                  </a:lnTo>
                  <a:lnTo>
                    <a:pt x="451" y="456"/>
                  </a:lnTo>
                  <a:cubicBezTo>
                    <a:pt x="451" y="467"/>
                    <a:pt x="451" y="474"/>
                    <a:pt x="452" y="477"/>
                  </a:cubicBezTo>
                  <a:cubicBezTo>
                    <a:pt x="453" y="480"/>
                    <a:pt x="455" y="481"/>
                    <a:pt x="458" y="481"/>
                  </a:cubicBezTo>
                  <a:cubicBezTo>
                    <a:pt x="461" y="481"/>
                    <a:pt x="464" y="480"/>
                    <a:pt x="465" y="478"/>
                  </a:cubicBezTo>
                  <a:cubicBezTo>
                    <a:pt x="466" y="476"/>
                    <a:pt x="467" y="473"/>
                    <a:pt x="467" y="470"/>
                  </a:cubicBezTo>
                  <a:cubicBezTo>
                    <a:pt x="467" y="460"/>
                    <a:pt x="466" y="453"/>
                    <a:pt x="465" y="449"/>
                  </a:cubicBezTo>
                  <a:cubicBezTo>
                    <a:pt x="464" y="445"/>
                    <a:pt x="459" y="440"/>
                    <a:pt x="451" y="435"/>
                  </a:cubicBezTo>
                  <a:cubicBezTo>
                    <a:pt x="438" y="427"/>
                    <a:pt x="429" y="421"/>
                    <a:pt x="424" y="417"/>
                  </a:cubicBezTo>
                  <a:cubicBezTo>
                    <a:pt x="420" y="413"/>
                    <a:pt x="415" y="408"/>
                    <a:pt x="412" y="401"/>
                  </a:cubicBezTo>
                  <a:cubicBezTo>
                    <a:pt x="408" y="393"/>
                    <a:pt x="407" y="385"/>
                    <a:pt x="407" y="377"/>
                  </a:cubicBezTo>
                  <a:cubicBezTo>
                    <a:pt x="407" y="364"/>
                    <a:pt x="410" y="354"/>
                    <a:pt x="418" y="346"/>
                  </a:cubicBezTo>
                  <a:cubicBezTo>
                    <a:pt x="425" y="339"/>
                    <a:pt x="436" y="334"/>
                    <a:pt x="451" y="333"/>
                  </a:cubicBezTo>
                  <a:lnTo>
                    <a:pt x="451" y="319"/>
                  </a:lnTo>
                  <a:lnTo>
                    <a:pt x="471" y="319"/>
                  </a:lnTo>
                  <a:lnTo>
                    <a:pt x="471" y="333"/>
                  </a:lnTo>
                  <a:cubicBezTo>
                    <a:pt x="484" y="334"/>
                    <a:pt x="494" y="339"/>
                    <a:pt x="501" y="346"/>
                  </a:cubicBezTo>
                  <a:cubicBezTo>
                    <a:pt x="507" y="353"/>
                    <a:pt x="511" y="363"/>
                    <a:pt x="511" y="376"/>
                  </a:cubicBezTo>
                  <a:cubicBezTo>
                    <a:pt x="511" y="378"/>
                    <a:pt x="510" y="381"/>
                    <a:pt x="510" y="384"/>
                  </a:cubicBezTo>
                  <a:close/>
                  <a:moveTo>
                    <a:pt x="411" y="271"/>
                  </a:moveTo>
                  <a:lnTo>
                    <a:pt x="411" y="271"/>
                  </a:lnTo>
                  <a:lnTo>
                    <a:pt x="410" y="271"/>
                  </a:lnTo>
                  <a:lnTo>
                    <a:pt x="409" y="271"/>
                  </a:lnTo>
                  <a:lnTo>
                    <a:pt x="408" y="272"/>
                  </a:lnTo>
                  <a:lnTo>
                    <a:pt x="407" y="272"/>
                  </a:lnTo>
                  <a:lnTo>
                    <a:pt x="406" y="272"/>
                  </a:lnTo>
                  <a:lnTo>
                    <a:pt x="405" y="273"/>
                  </a:lnTo>
                  <a:lnTo>
                    <a:pt x="405" y="273"/>
                  </a:lnTo>
                  <a:lnTo>
                    <a:pt x="404" y="273"/>
                  </a:lnTo>
                  <a:lnTo>
                    <a:pt x="403" y="274"/>
                  </a:lnTo>
                  <a:lnTo>
                    <a:pt x="402" y="274"/>
                  </a:lnTo>
                  <a:lnTo>
                    <a:pt x="401" y="274"/>
                  </a:lnTo>
                  <a:lnTo>
                    <a:pt x="400" y="275"/>
                  </a:lnTo>
                  <a:lnTo>
                    <a:pt x="399" y="275"/>
                  </a:lnTo>
                  <a:lnTo>
                    <a:pt x="398" y="275"/>
                  </a:lnTo>
                  <a:lnTo>
                    <a:pt x="398" y="276"/>
                  </a:lnTo>
                  <a:lnTo>
                    <a:pt x="397" y="276"/>
                  </a:lnTo>
                  <a:lnTo>
                    <a:pt x="396" y="277"/>
                  </a:lnTo>
                  <a:lnTo>
                    <a:pt x="395" y="277"/>
                  </a:lnTo>
                  <a:lnTo>
                    <a:pt x="394" y="277"/>
                  </a:lnTo>
                  <a:lnTo>
                    <a:pt x="393" y="278"/>
                  </a:lnTo>
                  <a:lnTo>
                    <a:pt x="393" y="278"/>
                  </a:lnTo>
                  <a:lnTo>
                    <a:pt x="401" y="294"/>
                  </a:lnTo>
                  <a:lnTo>
                    <a:pt x="401" y="294"/>
                  </a:lnTo>
                  <a:lnTo>
                    <a:pt x="401" y="293"/>
                  </a:lnTo>
                  <a:lnTo>
                    <a:pt x="402" y="293"/>
                  </a:lnTo>
                  <a:lnTo>
                    <a:pt x="403" y="293"/>
                  </a:lnTo>
                  <a:lnTo>
                    <a:pt x="404" y="292"/>
                  </a:lnTo>
                  <a:lnTo>
                    <a:pt x="404" y="292"/>
                  </a:lnTo>
                  <a:lnTo>
                    <a:pt x="405" y="292"/>
                  </a:lnTo>
                  <a:lnTo>
                    <a:pt x="406" y="291"/>
                  </a:lnTo>
                  <a:lnTo>
                    <a:pt x="407" y="291"/>
                  </a:lnTo>
                  <a:lnTo>
                    <a:pt x="407" y="291"/>
                  </a:lnTo>
                  <a:lnTo>
                    <a:pt x="408" y="290"/>
                  </a:lnTo>
                  <a:lnTo>
                    <a:pt x="409" y="290"/>
                  </a:lnTo>
                  <a:lnTo>
                    <a:pt x="410" y="290"/>
                  </a:lnTo>
                  <a:lnTo>
                    <a:pt x="411" y="290"/>
                  </a:lnTo>
                  <a:lnTo>
                    <a:pt x="411" y="289"/>
                  </a:lnTo>
                  <a:lnTo>
                    <a:pt x="412" y="289"/>
                  </a:lnTo>
                  <a:lnTo>
                    <a:pt x="413" y="289"/>
                  </a:lnTo>
                  <a:lnTo>
                    <a:pt x="414" y="288"/>
                  </a:lnTo>
                  <a:lnTo>
                    <a:pt x="414" y="288"/>
                  </a:lnTo>
                  <a:lnTo>
                    <a:pt x="415" y="288"/>
                  </a:lnTo>
                  <a:lnTo>
                    <a:pt x="416" y="288"/>
                  </a:lnTo>
                  <a:lnTo>
                    <a:pt x="411" y="271"/>
                  </a:lnTo>
                  <a:close/>
                  <a:moveTo>
                    <a:pt x="361" y="297"/>
                  </a:moveTo>
                  <a:lnTo>
                    <a:pt x="361" y="297"/>
                  </a:lnTo>
                  <a:lnTo>
                    <a:pt x="361" y="297"/>
                  </a:lnTo>
                  <a:lnTo>
                    <a:pt x="360" y="298"/>
                  </a:lnTo>
                  <a:lnTo>
                    <a:pt x="360" y="299"/>
                  </a:lnTo>
                  <a:lnTo>
                    <a:pt x="359" y="299"/>
                  </a:lnTo>
                  <a:lnTo>
                    <a:pt x="358" y="300"/>
                  </a:lnTo>
                  <a:lnTo>
                    <a:pt x="358" y="300"/>
                  </a:lnTo>
                  <a:lnTo>
                    <a:pt x="357" y="301"/>
                  </a:lnTo>
                  <a:lnTo>
                    <a:pt x="356" y="302"/>
                  </a:lnTo>
                  <a:lnTo>
                    <a:pt x="356" y="302"/>
                  </a:lnTo>
                  <a:lnTo>
                    <a:pt x="355" y="303"/>
                  </a:lnTo>
                  <a:lnTo>
                    <a:pt x="354" y="304"/>
                  </a:lnTo>
                  <a:lnTo>
                    <a:pt x="354" y="304"/>
                  </a:lnTo>
                  <a:lnTo>
                    <a:pt x="353" y="305"/>
                  </a:lnTo>
                  <a:lnTo>
                    <a:pt x="352" y="305"/>
                  </a:lnTo>
                  <a:lnTo>
                    <a:pt x="352" y="306"/>
                  </a:lnTo>
                  <a:lnTo>
                    <a:pt x="351" y="307"/>
                  </a:lnTo>
                  <a:lnTo>
                    <a:pt x="350" y="307"/>
                  </a:lnTo>
                  <a:lnTo>
                    <a:pt x="350" y="308"/>
                  </a:lnTo>
                  <a:lnTo>
                    <a:pt x="349" y="309"/>
                  </a:lnTo>
                  <a:lnTo>
                    <a:pt x="348" y="309"/>
                  </a:lnTo>
                  <a:lnTo>
                    <a:pt x="348" y="310"/>
                  </a:lnTo>
                  <a:lnTo>
                    <a:pt x="360" y="322"/>
                  </a:lnTo>
                  <a:lnTo>
                    <a:pt x="361" y="322"/>
                  </a:lnTo>
                  <a:lnTo>
                    <a:pt x="361" y="321"/>
                  </a:lnTo>
                  <a:lnTo>
                    <a:pt x="362" y="320"/>
                  </a:lnTo>
                  <a:lnTo>
                    <a:pt x="363" y="320"/>
                  </a:lnTo>
                  <a:lnTo>
                    <a:pt x="363" y="319"/>
                  </a:lnTo>
                  <a:lnTo>
                    <a:pt x="364" y="319"/>
                  </a:lnTo>
                  <a:lnTo>
                    <a:pt x="364" y="318"/>
                  </a:lnTo>
                  <a:lnTo>
                    <a:pt x="365" y="318"/>
                  </a:lnTo>
                  <a:lnTo>
                    <a:pt x="365" y="317"/>
                  </a:lnTo>
                  <a:lnTo>
                    <a:pt x="366" y="317"/>
                  </a:lnTo>
                  <a:lnTo>
                    <a:pt x="367" y="316"/>
                  </a:lnTo>
                  <a:lnTo>
                    <a:pt x="367" y="315"/>
                  </a:lnTo>
                  <a:lnTo>
                    <a:pt x="368" y="315"/>
                  </a:lnTo>
                  <a:lnTo>
                    <a:pt x="368" y="314"/>
                  </a:lnTo>
                  <a:lnTo>
                    <a:pt x="369" y="314"/>
                  </a:lnTo>
                  <a:lnTo>
                    <a:pt x="370" y="313"/>
                  </a:lnTo>
                  <a:lnTo>
                    <a:pt x="370" y="313"/>
                  </a:lnTo>
                  <a:lnTo>
                    <a:pt x="371" y="312"/>
                  </a:lnTo>
                  <a:lnTo>
                    <a:pt x="372" y="312"/>
                  </a:lnTo>
                  <a:lnTo>
                    <a:pt x="372" y="311"/>
                  </a:lnTo>
                  <a:lnTo>
                    <a:pt x="373" y="311"/>
                  </a:lnTo>
                  <a:lnTo>
                    <a:pt x="361" y="297"/>
                  </a:lnTo>
                  <a:close/>
                  <a:moveTo>
                    <a:pt x="325" y="339"/>
                  </a:moveTo>
                  <a:lnTo>
                    <a:pt x="325" y="339"/>
                  </a:lnTo>
                  <a:lnTo>
                    <a:pt x="325" y="340"/>
                  </a:lnTo>
                  <a:lnTo>
                    <a:pt x="324" y="341"/>
                  </a:lnTo>
                  <a:lnTo>
                    <a:pt x="324" y="341"/>
                  </a:lnTo>
                  <a:lnTo>
                    <a:pt x="323" y="342"/>
                  </a:lnTo>
                  <a:lnTo>
                    <a:pt x="323" y="343"/>
                  </a:lnTo>
                  <a:lnTo>
                    <a:pt x="323" y="344"/>
                  </a:lnTo>
                  <a:lnTo>
                    <a:pt x="322" y="345"/>
                  </a:lnTo>
                  <a:lnTo>
                    <a:pt x="322" y="345"/>
                  </a:lnTo>
                  <a:lnTo>
                    <a:pt x="321" y="346"/>
                  </a:lnTo>
                  <a:lnTo>
                    <a:pt x="321" y="347"/>
                  </a:lnTo>
                  <a:lnTo>
                    <a:pt x="320" y="348"/>
                  </a:lnTo>
                  <a:lnTo>
                    <a:pt x="320" y="349"/>
                  </a:lnTo>
                  <a:lnTo>
                    <a:pt x="320" y="350"/>
                  </a:lnTo>
                  <a:lnTo>
                    <a:pt x="319" y="350"/>
                  </a:lnTo>
                  <a:lnTo>
                    <a:pt x="319" y="351"/>
                  </a:lnTo>
                  <a:lnTo>
                    <a:pt x="318" y="352"/>
                  </a:lnTo>
                  <a:lnTo>
                    <a:pt x="318" y="353"/>
                  </a:lnTo>
                  <a:lnTo>
                    <a:pt x="318" y="354"/>
                  </a:lnTo>
                  <a:lnTo>
                    <a:pt x="317" y="355"/>
                  </a:lnTo>
                  <a:lnTo>
                    <a:pt x="317" y="356"/>
                  </a:lnTo>
                  <a:lnTo>
                    <a:pt x="317" y="356"/>
                  </a:lnTo>
                  <a:lnTo>
                    <a:pt x="333" y="363"/>
                  </a:lnTo>
                  <a:lnTo>
                    <a:pt x="333" y="363"/>
                  </a:lnTo>
                  <a:lnTo>
                    <a:pt x="333" y="362"/>
                  </a:lnTo>
                  <a:lnTo>
                    <a:pt x="334" y="361"/>
                  </a:lnTo>
                  <a:lnTo>
                    <a:pt x="334" y="360"/>
                  </a:lnTo>
                  <a:lnTo>
                    <a:pt x="334" y="360"/>
                  </a:lnTo>
                  <a:lnTo>
                    <a:pt x="335" y="359"/>
                  </a:lnTo>
                  <a:lnTo>
                    <a:pt x="335" y="358"/>
                  </a:lnTo>
                  <a:lnTo>
                    <a:pt x="335" y="357"/>
                  </a:lnTo>
                  <a:lnTo>
                    <a:pt x="336" y="357"/>
                  </a:lnTo>
                  <a:lnTo>
                    <a:pt x="336" y="356"/>
                  </a:lnTo>
                  <a:lnTo>
                    <a:pt x="336" y="355"/>
                  </a:lnTo>
                  <a:lnTo>
                    <a:pt x="337" y="354"/>
                  </a:lnTo>
                  <a:lnTo>
                    <a:pt x="337" y="354"/>
                  </a:lnTo>
                  <a:lnTo>
                    <a:pt x="338" y="353"/>
                  </a:lnTo>
                  <a:lnTo>
                    <a:pt x="338" y="352"/>
                  </a:lnTo>
                  <a:lnTo>
                    <a:pt x="338" y="351"/>
                  </a:lnTo>
                  <a:lnTo>
                    <a:pt x="339" y="351"/>
                  </a:lnTo>
                  <a:lnTo>
                    <a:pt x="339" y="350"/>
                  </a:lnTo>
                  <a:lnTo>
                    <a:pt x="340" y="349"/>
                  </a:lnTo>
                  <a:lnTo>
                    <a:pt x="340" y="349"/>
                  </a:lnTo>
                  <a:lnTo>
                    <a:pt x="340" y="348"/>
                  </a:lnTo>
                  <a:lnTo>
                    <a:pt x="325" y="339"/>
                  </a:lnTo>
                  <a:close/>
                  <a:moveTo>
                    <a:pt x="306" y="392"/>
                  </a:moveTo>
                  <a:lnTo>
                    <a:pt x="306" y="392"/>
                  </a:lnTo>
                  <a:lnTo>
                    <a:pt x="306" y="393"/>
                  </a:lnTo>
                  <a:lnTo>
                    <a:pt x="306" y="394"/>
                  </a:lnTo>
                  <a:lnTo>
                    <a:pt x="306" y="394"/>
                  </a:lnTo>
                  <a:lnTo>
                    <a:pt x="306" y="395"/>
                  </a:lnTo>
                  <a:lnTo>
                    <a:pt x="305" y="396"/>
                  </a:lnTo>
                  <a:lnTo>
                    <a:pt x="305" y="397"/>
                  </a:lnTo>
                  <a:lnTo>
                    <a:pt x="305" y="398"/>
                  </a:lnTo>
                  <a:lnTo>
                    <a:pt x="305" y="399"/>
                  </a:lnTo>
                  <a:lnTo>
                    <a:pt x="305" y="400"/>
                  </a:lnTo>
                  <a:lnTo>
                    <a:pt x="305" y="401"/>
                  </a:lnTo>
                  <a:lnTo>
                    <a:pt x="305" y="402"/>
                  </a:lnTo>
                  <a:lnTo>
                    <a:pt x="305" y="403"/>
                  </a:lnTo>
                  <a:lnTo>
                    <a:pt x="305" y="404"/>
                  </a:lnTo>
                  <a:lnTo>
                    <a:pt x="304" y="405"/>
                  </a:lnTo>
                  <a:lnTo>
                    <a:pt x="304" y="406"/>
                  </a:lnTo>
                  <a:lnTo>
                    <a:pt x="304" y="407"/>
                  </a:lnTo>
                  <a:lnTo>
                    <a:pt x="304" y="408"/>
                  </a:lnTo>
                  <a:lnTo>
                    <a:pt x="304" y="409"/>
                  </a:lnTo>
                  <a:lnTo>
                    <a:pt x="304" y="410"/>
                  </a:lnTo>
                  <a:lnTo>
                    <a:pt x="304" y="410"/>
                  </a:lnTo>
                  <a:lnTo>
                    <a:pt x="322" y="411"/>
                  </a:lnTo>
                  <a:lnTo>
                    <a:pt x="322" y="411"/>
                  </a:lnTo>
                  <a:lnTo>
                    <a:pt x="322" y="410"/>
                  </a:lnTo>
                  <a:lnTo>
                    <a:pt x="322" y="409"/>
                  </a:lnTo>
                  <a:lnTo>
                    <a:pt x="322" y="408"/>
                  </a:lnTo>
                  <a:lnTo>
                    <a:pt x="322" y="407"/>
                  </a:lnTo>
                  <a:lnTo>
                    <a:pt x="322" y="406"/>
                  </a:lnTo>
                  <a:lnTo>
                    <a:pt x="322" y="406"/>
                  </a:lnTo>
                  <a:lnTo>
                    <a:pt x="322" y="405"/>
                  </a:lnTo>
                  <a:lnTo>
                    <a:pt x="322" y="404"/>
                  </a:lnTo>
                  <a:lnTo>
                    <a:pt x="322" y="403"/>
                  </a:lnTo>
                  <a:lnTo>
                    <a:pt x="322" y="402"/>
                  </a:lnTo>
                  <a:lnTo>
                    <a:pt x="323" y="401"/>
                  </a:lnTo>
                  <a:lnTo>
                    <a:pt x="323" y="400"/>
                  </a:lnTo>
                  <a:lnTo>
                    <a:pt x="323" y="400"/>
                  </a:lnTo>
                  <a:lnTo>
                    <a:pt x="323" y="399"/>
                  </a:lnTo>
                  <a:lnTo>
                    <a:pt x="323" y="398"/>
                  </a:lnTo>
                  <a:lnTo>
                    <a:pt x="323" y="397"/>
                  </a:lnTo>
                  <a:lnTo>
                    <a:pt x="323" y="396"/>
                  </a:lnTo>
                  <a:lnTo>
                    <a:pt x="323" y="395"/>
                  </a:lnTo>
                  <a:lnTo>
                    <a:pt x="323" y="395"/>
                  </a:lnTo>
                  <a:lnTo>
                    <a:pt x="306" y="392"/>
                  </a:lnTo>
                  <a:close/>
                  <a:moveTo>
                    <a:pt x="307" y="447"/>
                  </a:moveTo>
                  <a:lnTo>
                    <a:pt x="307" y="447"/>
                  </a:lnTo>
                  <a:lnTo>
                    <a:pt x="307" y="448"/>
                  </a:lnTo>
                  <a:lnTo>
                    <a:pt x="307" y="449"/>
                  </a:lnTo>
                  <a:lnTo>
                    <a:pt x="308" y="450"/>
                  </a:lnTo>
                  <a:lnTo>
                    <a:pt x="308" y="450"/>
                  </a:lnTo>
                  <a:lnTo>
                    <a:pt x="308" y="451"/>
                  </a:lnTo>
                  <a:lnTo>
                    <a:pt x="308" y="452"/>
                  </a:lnTo>
                  <a:lnTo>
                    <a:pt x="308" y="453"/>
                  </a:lnTo>
                  <a:lnTo>
                    <a:pt x="309" y="454"/>
                  </a:lnTo>
                  <a:lnTo>
                    <a:pt x="309" y="455"/>
                  </a:lnTo>
                  <a:lnTo>
                    <a:pt x="309" y="456"/>
                  </a:lnTo>
                  <a:lnTo>
                    <a:pt x="309" y="457"/>
                  </a:lnTo>
                  <a:lnTo>
                    <a:pt x="310" y="458"/>
                  </a:lnTo>
                  <a:lnTo>
                    <a:pt x="310" y="459"/>
                  </a:lnTo>
                  <a:lnTo>
                    <a:pt x="310" y="460"/>
                  </a:lnTo>
                  <a:lnTo>
                    <a:pt x="310" y="461"/>
                  </a:lnTo>
                  <a:lnTo>
                    <a:pt x="311" y="461"/>
                  </a:lnTo>
                  <a:lnTo>
                    <a:pt x="311" y="462"/>
                  </a:lnTo>
                  <a:lnTo>
                    <a:pt x="311" y="463"/>
                  </a:lnTo>
                  <a:lnTo>
                    <a:pt x="312" y="464"/>
                  </a:lnTo>
                  <a:lnTo>
                    <a:pt x="312" y="465"/>
                  </a:lnTo>
                  <a:lnTo>
                    <a:pt x="312" y="465"/>
                  </a:lnTo>
                  <a:lnTo>
                    <a:pt x="329" y="460"/>
                  </a:lnTo>
                  <a:lnTo>
                    <a:pt x="328" y="459"/>
                  </a:lnTo>
                  <a:lnTo>
                    <a:pt x="328" y="459"/>
                  </a:lnTo>
                  <a:lnTo>
                    <a:pt x="328" y="458"/>
                  </a:lnTo>
                  <a:lnTo>
                    <a:pt x="328" y="457"/>
                  </a:lnTo>
                  <a:lnTo>
                    <a:pt x="328" y="456"/>
                  </a:lnTo>
                  <a:lnTo>
                    <a:pt x="327" y="456"/>
                  </a:lnTo>
                  <a:lnTo>
                    <a:pt x="327" y="455"/>
                  </a:lnTo>
                  <a:lnTo>
                    <a:pt x="327" y="454"/>
                  </a:lnTo>
                  <a:lnTo>
                    <a:pt x="327" y="453"/>
                  </a:lnTo>
                  <a:lnTo>
                    <a:pt x="326" y="452"/>
                  </a:lnTo>
                  <a:lnTo>
                    <a:pt x="326" y="452"/>
                  </a:lnTo>
                  <a:lnTo>
                    <a:pt x="326" y="451"/>
                  </a:lnTo>
                  <a:lnTo>
                    <a:pt x="326" y="450"/>
                  </a:lnTo>
                  <a:lnTo>
                    <a:pt x="325" y="449"/>
                  </a:lnTo>
                  <a:lnTo>
                    <a:pt x="325" y="448"/>
                  </a:lnTo>
                  <a:lnTo>
                    <a:pt x="325" y="447"/>
                  </a:lnTo>
                  <a:lnTo>
                    <a:pt x="325" y="447"/>
                  </a:lnTo>
                  <a:lnTo>
                    <a:pt x="325" y="446"/>
                  </a:lnTo>
                  <a:lnTo>
                    <a:pt x="325" y="445"/>
                  </a:lnTo>
                  <a:lnTo>
                    <a:pt x="324" y="444"/>
                  </a:lnTo>
                  <a:lnTo>
                    <a:pt x="324" y="444"/>
                  </a:lnTo>
                  <a:lnTo>
                    <a:pt x="307" y="447"/>
                  </a:lnTo>
                  <a:close/>
                  <a:moveTo>
                    <a:pt x="328" y="499"/>
                  </a:moveTo>
                  <a:lnTo>
                    <a:pt x="328" y="499"/>
                  </a:lnTo>
                  <a:lnTo>
                    <a:pt x="328" y="499"/>
                  </a:lnTo>
                  <a:lnTo>
                    <a:pt x="329" y="500"/>
                  </a:lnTo>
                  <a:lnTo>
                    <a:pt x="329" y="501"/>
                  </a:lnTo>
                  <a:lnTo>
                    <a:pt x="330" y="502"/>
                  </a:lnTo>
                  <a:lnTo>
                    <a:pt x="330" y="502"/>
                  </a:lnTo>
                  <a:lnTo>
                    <a:pt x="331" y="503"/>
                  </a:lnTo>
                  <a:lnTo>
                    <a:pt x="331" y="504"/>
                  </a:lnTo>
                  <a:lnTo>
                    <a:pt x="332" y="505"/>
                  </a:lnTo>
                  <a:lnTo>
                    <a:pt x="332" y="505"/>
                  </a:lnTo>
                  <a:lnTo>
                    <a:pt x="333" y="506"/>
                  </a:lnTo>
                  <a:lnTo>
                    <a:pt x="333" y="507"/>
                  </a:lnTo>
                  <a:lnTo>
                    <a:pt x="334" y="508"/>
                  </a:lnTo>
                  <a:lnTo>
                    <a:pt x="334" y="508"/>
                  </a:lnTo>
                  <a:lnTo>
                    <a:pt x="335" y="509"/>
                  </a:lnTo>
                  <a:lnTo>
                    <a:pt x="336" y="510"/>
                  </a:lnTo>
                  <a:lnTo>
                    <a:pt x="336" y="511"/>
                  </a:lnTo>
                  <a:lnTo>
                    <a:pt x="337" y="511"/>
                  </a:lnTo>
                  <a:lnTo>
                    <a:pt x="337" y="512"/>
                  </a:lnTo>
                  <a:lnTo>
                    <a:pt x="338" y="513"/>
                  </a:lnTo>
                  <a:lnTo>
                    <a:pt x="338" y="514"/>
                  </a:lnTo>
                  <a:lnTo>
                    <a:pt x="339" y="514"/>
                  </a:lnTo>
                  <a:lnTo>
                    <a:pt x="353" y="503"/>
                  </a:lnTo>
                  <a:lnTo>
                    <a:pt x="352" y="502"/>
                  </a:lnTo>
                  <a:lnTo>
                    <a:pt x="352" y="502"/>
                  </a:lnTo>
                  <a:lnTo>
                    <a:pt x="351" y="501"/>
                  </a:lnTo>
                  <a:lnTo>
                    <a:pt x="351" y="500"/>
                  </a:lnTo>
                  <a:lnTo>
                    <a:pt x="350" y="500"/>
                  </a:lnTo>
                  <a:lnTo>
                    <a:pt x="350" y="499"/>
                  </a:lnTo>
                  <a:lnTo>
                    <a:pt x="349" y="499"/>
                  </a:lnTo>
                  <a:lnTo>
                    <a:pt x="349" y="498"/>
                  </a:lnTo>
                  <a:lnTo>
                    <a:pt x="348" y="497"/>
                  </a:lnTo>
                  <a:lnTo>
                    <a:pt x="348" y="497"/>
                  </a:lnTo>
                  <a:lnTo>
                    <a:pt x="347" y="496"/>
                  </a:lnTo>
                  <a:lnTo>
                    <a:pt x="347" y="495"/>
                  </a:lnTo>
                  <a:lnTo>
                    <a:pt x="346" y="495"/>
                  </a:lnTo>
                  <a:lnTo>
                    <a:pt x="346" y="494"/>
                  </a:lnTo>
                  <a:lnTo>
                    <a:pt x="345" y="493"/>
                  </a:lnTo>
                  <a:lnTo>
                    <a:pt x="345" y="493"/>
                  </a:lnTo>
                  <a:lnTo>
                    <a:pt x="344" y="492"/>
                  </a:lnTo>
                  <a:lnTo>
                    <a:pt x="344" y="491"/>
                  </a:lnTo>
                  <a:lnTo>
                    <a:pt x="343" y="491"/>
                  </a:lnTo>
                  <a:lnTo>
                    <a:pt x="343" y="490"/>
                  </a:lnTo>
                  <a:lnTo>
                    <a:pt x="343" y="490"/>
                  </a:lnTo>
                  <a:lnTo>
                    <a:pt x="328" y="499"/>
                  </a:lnTo>
                  <a:close/>
                  <a:moveTo>
                    <a:pt x="366" y="540"/>
                  </a:moveTo>
                  <a:lnTo>
                    <a:pt x="366" y="540"/>
                  </a:lnTo>
                  <a:lnTo>
                    <a:pt x="366" y="540"/>
                  </a:lnTo>
                  <a:lnTo>
                    <a:pt x="367" y="541"/>
                  </a:lnTo>
                  <a:lnTo>
                    <a:pt x="368" y="541"/>
                  </a:lnTo>
                  <a:lnTo>
                    <a:pt x="369" y="542"/>
                  </a:lnTo>
                  <a:lnTo>
                    <a:pt x="369" y="542"/>
                  </a:lnTo>
                  <a:lnTo>
                    <a:pt x="370" y="543"/>
                  </a:lnTo>
                  <a:lnTo>
                    <a:pt x="371" y="543"/>
                  </a:lnTo>
                  <a:lnTo>
                    <a:pt x="372" y="544"/>
                  </a:lnTo>
                  <a:lnTo>
                    <a:pt x="372" y="544"/>
                  </a:lnTo>
                  <a:lnTo>
                    <a:pt x="373" y="545"/>
                  </a:lnTo>
                  <a:lnTo>
                    <a:pt x="374" y="545"/>
                  </a:lnTo>
                  <a:lnTo>
                    <a:pt x="375" y="546"/>
                  </a:lnTo>
                  <a:lnTo>
                    <a:pt x="375" y="546"/>
                  </a:lnTo>
                  <a:lnTo>
                    <a:pt x="376" y="547"/>
                  </a:lnTo>
                  <a:lnTo>
                    <a:pt x="377" y="547"/>
                  </a:lnTo>
                  <a:lnTo>
                    <a:pt x="378" y="548"/>
                  </a:lnTo>
                  <a:lnTo>
                    <a:pt x="379" y="548"/>
                  </a:lnTo>
                  <a:lnTo>
                    <a:pt x="379" y="549"/>
                  </a:lnTo>
                  <a:lnTo>
                    <a:pt x="380" y="549"/>
                  </a:lnTo>
                  <a:lnTo>
                    <a:pt x="381" y="550"/>
                  </a:lnTo>
                  <a:lnTo>
                    <a:pt x="382" y="550"/>
                  </a:lnTo>
                  <a:lnTo>
                    <a:pt x="390" y="535"/>
                  </a:lnTo>
                  <a:lnTo>
                    <a:pt x="390" y="534"/>
                  </a:lnTo>
                  <a:lnTo>
                    <a:pt x="389" y="534"/>
                  </a:lnTo>
                  <a:lnTo>
                    <a:pt x="388" y="534"/>
                  </a:lnTo>
                  <a:lnTo>
                    <a:pt x="388" y="533"/>
                  </a:lnTo>
                  <a:lnTo>
                    <a:pt x="387" y="533"/>
                  </a:lnTo>
                  <a:lnTo>
                    <a:pt x="386" y="532"/>
                  </a:lnTo>
                  <a:lnTo>
                    <a:pt x="385" y="532"/>
                  </a:lnTo>
                  <a:lnTo>
                    <a:pt x="385" y="531"/>
                  </a:lnTo>
                  <a:lnTo>
                    <a:pt x="384" y="531"/>
                  </a:lnTo>
                  <a:lnTo>
                    <a:pt x="383" y="531"/>
                  </a:lnTo>
                  <a:lnTo>
                    <a:pt x="383" y="530"/>
                  </a:lnTo>
                  <a:lnTo>
                    <a:pt x="382" y="530"/>
                  </a:lnTo>
                  <a:lnTo>
                    <a:pt x="381" y="529"/>
                  </a:lnTo>
                  <a:lnTo>
                    <a:pt x="381" y="529"/>
                  </a:lnTo>
                  <a:lnTo>
                    <a:pt x="380" y="528"/>
                  </a:lnTo>
                  <a:lnTo>
                    <a:pt x="379" y="528"/>
                  </a:lnTo>
                  <a:lnTo>
                    <a:pt x="379" y="527"/>
                  </a:lnTo>
                  <a:lnTo>
                    <a:pt x="378" y="527"/>
                  </a:lnTo>
                  <a:lnTo>
                    <a:pt x="377" y="526"/>
                  </a:lnTo>
                  <a:lnTo>
                    <a:pt x="377" y="526"/>
                  </a:lnTo>
                  <a:lnTo>
                    <a:pt x="376" y="526"/>
                  </a:lnTo>
                  <a:lnTo>
                    <a:pt x="366" y="540"/>
                  </a:lnTo>
                  <a:close/>
                  <a:moveTo>
                    <a:pt x="416" y="564"/>
                  </a:moveTo>
                  <a:lnTo>
                    <a:pt x="416" y="564"/>
                  </a:lnTo>
                  <a:lnTo>
                    <a:pt x="416" y="564"/>
                  </a:lnTo>
                  <a:lnTo>
                    <a:pt x="417" y="565"/>
                  </a:lnTo>
                  <a:lnTo>
                    <a:pt x="418" y="565"/>
                  </a:lnTo>
                  <a:lnTo>
                    <a:pt x="419" y="565"/>
                  </a:lnTo>
                  <a:lnTo>
                    <a:pt x="420" y="565"/>
                  </a:lnTo>
                  <a:lnTo>
                    <a:pt x="421" y="566"/>
                  </a:lnTo>
                  <a:lnTo>
                    <a:pt x="422" y="566"/>
                  </a:lnTo>
                  <a:lnTo>
                    <a:pt x="423" y="566"/>
                  </a:lnTo>
                  <a:lnTo>
                    <a:pt x="424" y="566"/>
                  </a:lnTo>
                  <a:lnTo>
                    <a:pt x="424" y="566"/>
                  </a:lnTo>
                  <a:lnTo>
                    <a:pt x="425" y="567"/>
                  </a:lnTo>
                  <a:lnTo>
                    <a:pt x="426" y="567"/>
                  </a:lnTo>
                  <a:lnTo>
                    <a:pt x="427" y="567"/>
                  </a:lnTo>
                  <a:lnTo>
                    <a:pt x="428" y="567"/>
                  </a:lnTo>
                  <a:lnTo>
                    <a:pt x="429" y="567"/>
                  </a:lnTo>
                  <a:lnTo>
                    <a:pt x="430" y="568"/>
                  </a:lnTo>
                  <a:lnTo>
                    <a:pt x="431" y="568"/>
                  </a:lnTo>
                  <a:lnTo>
                    <a:pt x="432" y="568"/>
                  </a:lnTo>
                  <a:lnTo>
                    <a:pt x="433" y="568"/>
                  </a:lnTo>
                  <a:lnTo>
                    <a:pt x="434" y="568"/>
                  </a:lnTo>
                  <a:lnTo>
                    <a:pt x="434" y="568"/>
                  </a:lnTo>
                  <a:lnTo>
                    <a:pt x="437" y="551"/>
                  </a:lnTo>
                  <a:lnTo>
                    <a:pt x="437" y="551"/>
                  </a:lnTo>
                  <a:lnTo>
                    <a:pt x="436" y="551"/>
                  </a:lnTo>
                  <a:lnTo>
                    <a:pt x="435" y="551"/>
                  </a:lnTo>
                  <a:lnTo>
                    <a:pt x="434" y="550"/>
                  </a:lnTo>
                  <a:lnTo>
                    <a:pt x="433" y="550"/>
                  </a:lnTo>
                  <a:lnTo>
                    <a:pt x="432" y="550"/>
                  </a:lnTo>
                  <a:lnTo>
                    <a:pt x="431" y="550"/>
                  </a:lnTo>
                  <a:lnTo>
                    <a:pt x="431" y="550"/>
                  </a:lnTo>
                  <a:lnTo>
                    <a:pt x="430" y="550"/>
                  </a:lnTo>
                  <a:lnTo>
                    <a:pt x="429" y="549"/>
                  </a:lnTo>
                  <a:lnTo>
                    <a:pt x="428" y="549"/>
                  </a:lnTo>
                  <a:lnTo>
                    <a:pt x="427" y="549"/>
                  </a:lnTo>
                  <a:lnTo>
                    <a:pt x="427" y="549"/>
                  </a:lnTo>
                  <a:lnTo>
                    <a:pt x="426" y="549"/>
                  </a:lnTo>
                  <a:lnTo>
                    <a:pt x="425" y="548"/>
                  </a:lnTo>
                  <a:lnTo>
                    <a:pt x="424" y="548"/>
                  </a:lnTo>
                  <a:lnTo>
                    <a:pt x="423" y="548"/>
                  </a:lnTo>
                  <a:lnTo>
                    <a:pt x="422" y="548"/>
                  </a:lnTo>
                  <a:lnTo>
                    <a:pt x="422" y="548"/>
                  </a:lnTo>
                  <a:lnTo>
                    <a:pt x="421" y="547"/>
                  </a:lnTo>
                  <a:lnTo>
                    <a:pt x="421" y="547"/>
                  </a:lnTo>
                  <a:lnTo>
                    <a:pt x="416" y="564"/>
                  </a:lnTo>
                  <a:close/>
                  <a:moveTo>
                    <a:pt x="471" y="569"/>
                  </a:moveTo>
                  <a:lnTo>
                    <a:pt x="471" y="569"/>
                  </a:lnTo>
                  <a:lnTo>
                    <a:pt x="472" y="569"/>
                  </a:lnTo>
                  <a:lnTo>
                    <a:pt x="473" y="569"/>
                  </a:lnTo>
                  <a:lnTo>
                    <a:pt x="474" y="569"/>
                  </a:lnTo>
                  <a:lnTo>
                    <a:pt x="475" y="569"/>
                  </a:lnTo>
                  <a:lnTo>
                    <a:pt x="476" y="569"/>
                  </a:lnTo>
                  <a:lnTo>
                    <a:pt x="477" y="569"/>
                  </a:lnTo>
                  <a:lnTo>
                    <a:pt x="478" y="569"/>
                  </a:lnTo>
                  <a:lnTo>
                    <a:pt x="479" y="568"/>
                  </a:lnTo>
                  <a:lnTo>
                    <a:pt x="480" y="568"/>
                  </a:lnTo>
                  <a:lnTo>
                    <a:pt x="480" y="568"/>
                  </a:lnTo>
                  <a:lnTo>
                    <a:pt x="481" y="568"/>
                  </a:lnTo>
                  <a:lnTo>
                    <a:pt x="482" y="568"/>
                  </a:lnTo>
                  <a:lnTo>
                    <a:pt x="483" y="568"/>
                  </a:lnTo>
                  <a:lnTo>
                    <a:pt x="484" y="568"/>
                  </a:lnTo>
                  <a:lnTo>
                    <a:pt x="485" y="567"/>
                  </a:lnTo>
                  <a:lnTo>
                    <a:pt x="486" y="567"/>
                  </a:lnTo>
                  <a:lnTo>
                    <a:pt x="487" y="567"/>
                  </a:lnTo>
                  <a:lnTo>
                    <a:pt x="488" y="567"/>
                  </a:lnTo>
                  <a:lnTo>
                    <a:pt x="489" y="567"/>
                  </a:lnTo>
                  <a:lnTo>
                    <a:pt x="490" y="566"/>
                  </a:lnTo>
                  <a:lnTo>
                    <a:pt x="490" y="566"/>
                  </a:lnTo>
                  <a:lnTo>
                    <a:pt x="486" y="549"/>
                  </a:lnTo>
                  <a:lnTo>
                    <a:pt x="486" y="549"/>
                  </a:lnTo>
                  <a:lnTo>
                    <a:pt x="485" y="549"/>
                  </a:lnTo>
                  <a:lnTo>
                    <a:pt x="485" y="550"/>
                  </a:lnTo>
                  <a:lnTo>
                    <a:pt x="484" y="550"/>
                  </a:lnTo>
                  <a:lnTo>
                    <a:pt x="483" y="550"/>
                  </a:lnTo>
                  <a:lnTo>
                    <a:pt x="482" y="550"/>
                  </a:lnTo>
                  <a:lnTo>
                    <a:pt x="481" y="550"/>
                  </a:lnTo>
                  <a:lnTo>
                    <a:pt x="480" y="550"/>
                  </a:lnTo>
                  <a:lnTo>
                    <a:pt x="479" y="551"/>
                  </a:lnTo>
                  <a:lnTo>
                    <a:pt x="479" y="551"/>
                  </a:lnTo>
                  <a:lnTo>
                    <a:pt x="478" y="551"/>
                  </a:lnTo>
                  <a:lnTo>
                    <a:pt x="477" y="551"/>
                  </a:lnTo>
                  <a:lnTo>
                    <a:pt x="476" y="551"/>
                  </a:lnTo>
                  <a:lnTo>
                    <a:pt x="475" y="551"/>
                  </a:lnTo>
                  <a:lnTo>
                    <a:pt x="474" y="551"/>
                  </a:lnTo>
                  <a:lnTo>
                    <a:pt x="474" y="551"/>
                  </a:lnTo>
                  <a:lnTo>
                    <a:pt x="473" y="551"/>
                  </a:lnTo>
                  <a:lnTo>
                    <a:pt x="472" y="552"/>
                  </a:lnTo>
                  <a:lnTo>
                    <a:pt x="471" y="552"/>
                  </a:lnTo>
                  <a:lnTo>
                    <a:pt x="470" y="552"/>
                  </a:lnTo>
                  <a:lnTo>
                    <a:pt x="470" y="552"/>
                  </a:lnTo>
                  <a:lnTo>
                    <a:pt x="471" y="569"/>
                  </a:lnTo>
                  <a:close/>
                  <a:moveTo>
                    <a:pt x="525" y="554"/>
                  </a:moveTo>
                  <a:lnTo>
                    <a:pt x="525" y="554"/>
                  </a:lnTo>
                  <a:lnTo>
                    <a:pt x="525" y="554"/>
                  </a:lnTo>
                  <a:lnTo>
                    <a:pt x="526" y="554"/>
                  </a:lnTo>
                  <a:lnTo>
                    <a:pt x="527" y="553"/>
                  </a:lnTo>
                  <a:lnTo>
                    <a:pt x="528" y="553"/>
                  </a:lnTo>
                  <a:lnTo>
                    <a:pt x="529" y="552"/>
                  </a:lnTo>
                  <a:lnTo>
                    <a:pt x="529" y="552"/>
                  </a:lnTo>
                  <a:lnTo>
                    <a:pt x="530" y="551"/>
                  </a:lnTo>
                  <a:lnTo>
                    <a:pt x="531" y="551"/>
                  </a:lnTo>
                  <a:lnTo>
                    <a:pt x="532" y="551"/>
                  </a:lnTo>
                  <a:lnTo>
                    <a:pt x="533" y="550"/>
                  </a:lnTo>
                  <a:lnTo>
                    <a:pt x="533" y="550"/>
                  </a:lnTo>
                  <a:lnTo>
                    <a:pt x="534" y="549"/>
                  </a:lnTo>
                  <a:lnTo>
                    <a:pt x="535" y="549"/>
                  </a:lnTo>
                  <a:lnTo>
                    <a:pt x="536" y="548"/>
                  </a:lnTo>
                  <a:lnTo>
                    <a:pt x="537" y="548"/>
                  </a:lnTo>
                  <a:lnTo>
                    <a:pt x="537" y="547"/>
                  </a:lnTo>
                  <a:lnTo>
                    <a:pt x="538" y="547"/>
                  </a:lnTo>
                  <a:lnTo>
                    <a:pt x="539" y="546"/>
                  </a:lnTo>
                  <a:lnTo>
                    <a:pt x="540" y="546"/>
                  </a:lnTo>
                  <a:lnTo>
                    <a:pt x="540" y="545"/>
                  </a:lnTo>
                  <a:lnTo>
                    <a:pt x="541" y="545"/>
                  </a:lnTo>
                  <a:lnTo>
                    <a:pt x="532" y="530"/>
                  </a:lnTo>
                  <a:lnTo>
                    <a:pt x="531" y="531"/>
                  </a:lnTo>
                  <a:lnTo>
                    <a:pt x="530" y="531"/>
                  </a:lnTo>
                  <a:lnTo>
                    <a:pt x="530" y="531"/>
                  </a:lnTo>
                  <a:lnTo>
                    <a:pt x="529" y="532"/>
                  </a:lnTo>
                  <a:lnTo>
                    <a:pt x="528" y="532"/>
                  </a:lnTo>
                  <a:lnTo>
                    <a:pt x="527" y="533"/>
                  </a:lnTo>
                  <a:lnTo>
                    <a:pt x="527" y="533"/>
                  </a:lnTo>
                  <a:lnTo>
                    <a:pt x="526" y="534"/>
                  </a:lnTo>
                  <a:lnTo>
                    <a:pt x="525" y="534"/>
                  </a:lnTo>
                  <a:lnTo>
                    <a:pt x="525" y="534"/>
                  </a:lnTo>
                  <a:lnTo>
                    <a:pt x="524" y="535"/>
                  </a:lnTo>
                  <a:lnTo>
                    <a:pt x="523" y="535"/>
                  </a:lnTo>
                  <a:lnTo>
                    <a:pt x="522" y="536"/>
                  </a:lnTo>
                  <a:lnTo>
                    <a:pt x="522" y="536"/>
                  </a:lnTo>
                  <a:lnTo>
                    <a:pt x="521" y="536"/>
                  </a:lnTo>
                  <a:lnTo>
                    <a:pt x="520" y="537"/>
                  </a:lnTo>
                  <a:lnTo>
                    <a:pt x="520" y="537"/>
                  </a:lnTo>
                  <a:lnTo>
                    <a:pt x="519" y="538"/>
                  </a:lnTo>
                  <a:lnTo>
                    <a:pt x="518" y="538"/>
                  </a:lnTo>
                  <a:lnTo>
                    <a:pt x="517" y="538"/>
                  </a:lnTo>
                  <a:lnTo>
                    <a:pt x="517" y="538"/>
                  </a:lnTo>
                  <a:lnTo>
                    <a:pt x="525" y="554"/>
                  </a:lnTo>
                  <a:close/>
                  <a:moveTo>
                    <a:pt x="570" y="521"/>
                  </a:moveTo>
                  <a:lnTo>
                    <a:pt x="570" y="521"/>
                  </a:lnTo>
                  <a:lnTo>
                    <a:pt x="570" y="520"/>
                  </a:lnTo>
                  <a:lnTo>
                    <a:pt x="570" y="520"/>
                  </a:lnTo>
                  <a:lnTo>
                    <a:pt x="571" y="519"/>
                  </a:lnTo>
                  <a:lnTo>
                    <a:pt x="572" y="518"/>
                  </a:lnTo>
                  <a:lnTo>
                    <a:pt x="572" y="518"/>
                  </a:lnTo>
                  <a:lnTo>
                    <a:pt x="573" y="517"/>
                  </a:lnTo>
                  <a:lnTo>
                    <a:pt x="574" y="516"/>
                  </a:lnTo>
                  <a:lnTo>
                    <a:pt x="574" y="516"/>
                  </a:lnTo>
                  <a:lnTo>
                    <a:pt x="575" y="515"/>
                  </a:lnTo>
                  <a:lnTo>
                    <a:pt x="575" y="514"/>
                  </a:lnTo>
                  <a:lnTo>
                    <a:pt x="576" y="514"/>
                  </a:lnTo>
                  <a:lnTo>
                    <a:pt x="576" y="513"/>
                  </a:lnTo>
                  <a:lnTo>
                    <a:pt x="577" y="512"/>
                  </a:lnTo>
                  <a:lnTo>
                    <a:pt x="578" y="511"/>
                  </a:lnTo>
                  <a:lnTo>
                    <a:pt x="578" y="511"/>
                  </a:lnTo>
                  <a:lnTo>
                    <a:pt x="579" y="510"/>
                  </a:lnTo>
                  <a:lnTo>
                    <a:pt x="579" y="509"/>
                  </a:lnTo>
                  <a:lnTo>
                    <a:pt x="580" y="508"/>
                  </a:lnTo>
                  <a:lnTo>
                    <a:pt x="580" y="508"/>
                  </a:lnTo>
                  <a:lnTo>
                    <a:pt x="581" y="507"/>
                  </a:lnTo>
                  <a:lnTo>
                    <a:pt x="581" y="506"/>
                  </a:lnTo>
                  <a:lnTo>
                    <a:pt x="567" y="496"/>
                  </a:lnTo>
                  <a:lnTo>
                    <a:pt x="567" y="497"/>
                  </a:lnTo>
                  <a:lnTo>
                    <a:pt x="566" y="497"/>
                  </a:lnTo>
                  <a:lnTo>
                    <a:pt x="566" y="498"/>
                  </a:lnTo>
                  <a:lnTo>
                    <a:pt x="565" y="499"/>
                  </a:lnTo>
                  <a:lnTo>
                    <a:pt x="565" y="499"/>
                  </a:lnTo>
                  <a:lnTo>
                    <a:pt x="564" y="500"/>
                  </a:lnTo>
                  <a:lnTo>
                    <a:pt x="564" y="500"/>
                  </a:lnTo>
                  <a:lnTo>
                    <a:pt x="563" y="501"/>
                  </a:lnTo>
                  <a:lnTo>
                    <a:pt x="563" y="502"/>
                  </a:lnTo>
                  <a:lnTo>
                    <a:pt x="562" y="502"/>
                  </a:lnTo>
                  <a:lnTo>
                    <a:pt x="562" y="503"/>
                  </a:lnTo>
                  <a:lnTo>
                    <a:pt x="561" y="504"/>
                  </a:lnTo>
                  <a:lnTo>
                    <a:pt x="561" y="504"/>
                  </a:lnTo>
                  <a:lnTo>
                    <a:pt x="560" y="505"/>
                  </a:lnTo>
                  <a:lnTo>
                    <a:pt x="560" y="505"/>
                  </a:lnTo>
                  <a:lnTo>
                    <a:pt x="559" y="506"/>
                  </a:lnTo>
                  <a:lnTo>
                    <a:pt x="559" y="507"/>
                  </a:lnTo>
                  <a:lnTo>
                    <a:pt x="558" y="507"/>
                  </a:lnTo>
                  <a:lnTo>
                    <a:pt x="557" y="508"/>
                  </a:lnTo>
                  <a:lnTo>
                    <a:pt x="557" y="509"/>
                  </a:lnTo>
                  <a:lnTo>
                    <a:pt x="557" y="509"/>
                  </a:lnTo>
                  <a:lnTo>
                    <a:pt x="570" y="521"/>
                  </a:lnTo>
                  <a:close/>
                  <a:moveTo>
                    <a:pt x="599" y="474"/>
                  </a:moveTo>
                  <a:lnTo>
                    <a:pt x="599" y="474"/>
                  </a:lnTo>
                  <a:lnTo>
                    <a:pt x="600" y="473"/>
                  </a:lnTo>
                  <a:lnTo>
                    <a:pt x="600" y="472"/>
                  </a:lnTo>
                  <a:lnTo>
                    <a:pt x="600" y="471"/>
                  </a:lnTo>
                  <a:lnTo>
                    <a:pt x="601" y="470"/>
                  </a:lnTo>
                  <a:lnTo>
                    <a:pt x="601" y="469"/>
                  </a:lnTo>
                  <a:lnTo>
                    <a:pt x="601" y="469"/>
                  </a:lnTo>
                  <a:lnTo>
                    <a:pt x="602" y="468"/>
                  </a:lnTo>
                  <a:lnTo>
                    <a:pt x="602" y="467"/>
                  </a:lnTo>
                  <a:lnTo>
                    <a:pt x="602" y="466"/>
                  </a:lnTo>
                  <a:lnTo>
                    <a:pt x="603" y="465"/>
                  </a:lnTo>
                  <a:lnTo>
                    <a:pt x="603" y="464"/>
                  </a:lnTo>
                  <a:lnTo>
                    <a:pt x="603" y="463"/>
                  </a:lnTo>
                  <a:lnTo>
                    <a:pt x="603" y="462"/>
                  </a:lnTo>
                  <a:lnTo>
                    <a:pt x="604" y="461"/>
                  </a:lnTo>
                  <a:lnTo>
                    <a:pt x="604" y="461"/>
                  </a:lnTo>
                  <a:lnTo>
                    <a:pt x="604" y="460"/>
                  </a:lnTo>
                  <a:lnTo>
                    <a:pt x="604" y="459"/>
                  </a:lnTo>
                  <a:lnTo>
                    <a:pt x="605" y="458"/>
                  </a:lnTo>
                  <a:lnTo>
                    <a:pt x="605" y="457"/>
                  </a:lnTo>
                  <a:lnTo>
                    <a:pt x="605" y="456"/>
                  </a:lnTo>
                  <a:lnTo>
                    <a:pt x="605" y="456"/>
                  </a:lnTo>
                  <a:lnTo>
                    <a:pt x="588" y="451"/>
                  </a:lnTo>
                  <a:lnTo>
                    <a:pt x="588" y="452"/>
                  </a:lnTo>
                  <a:lnTo>
                    <a:pt x="588" y="452"/>
                  </a:lnTo>
                  <a:lnTo>
                    <a:pt x="588" y="453"/>
                  </a:lnTo>
                  <a:lnTo>
                    <a:pt x="588" y="454"/>
                  </a:lnTo>
                  <a:lnTo>
                    <a:pt x="587" y="455"/>
                  </a:lnTo>
                  <a:lnTo>
                    <a:pt x="587" y="456"/>
                  </a:lnTo>
                  <a:lnTo>
                    <a:pt x="587" y="456"/>
                  </a:lnTo>
                  <a:lnTo>
                    <a:pt x="587" y="457"/>
                  </a:lnTo>
                  <a:lnTo>
                    <a:pt x="586" y="458"/>
                  </a:lnTo>
                  <a:lnTo>
                    <a:pt x="586" y="459"/>
                  </a:lnTo>
                  <a:lnTo>
                    <a:pt x="586" y="459"/>
                  </a:lnTo>
                  <a:lnTo>
                    <a:pt x="586" y="460"/>
                  </a:lnTo>
                  <a:lnTo>
                    <a:pt x="585" y="461"/>
                  </a:lnTo>
                  <a:lnTo>
                    <a:pt x="585" y="462"/>
                  </a:lnTo>
                  <a:lnTo>
                    <a:pt x="585" y="463"/>
                  </a:lnTo>
                  <a:lnTo>
                    <a:pt x="584" y="463"/>
                  </a:lnTo>
                  <a:lnTo>
                    <a:pt x="584" y="464"/>
                  </a:lnTo>
                  <a:lnTo>
                    <a:pt x="584" y="465"/>
                  </a:lnTo>
                  <a:lnTo>
                    <a:pt x="584" y="466"/>
                  </a:lnTo>
                  <a:lnTo>
                    <a:pt x="583" y="467"/>
                  </a:lnTo>
                  <a:lnTo>
                    <a:pt x="583" y="467"/>
                  </a:lnTo>
                  <a:lnTo>
                    <a:pt x="599" y="474"/>
                  </a:lnTo>
                  <a:close/>
                  <a:moveTo>
                    <a:pt x="610" y="419"/>
                  </a:moveTo>
                  <a:lnTo>
                    <a:pt x="610" y="419"/>
                  </a:lnTo>
                  <a:lnTo>
                    <a:pt x="610" y="419"/>
                  </a:lnTo>
                  <a:lnTo>
                    <a:pt x="610" y="418"/>
                  </a:lnTo>
                  <a:lnTo>
                    <a:pt x="610" y="417"/>
                  </a:lnTo>
                  <a:lnTo>
                    <a:pt x="610" y="416"/>
                  </a:lnTo>
                  <a:lnTo>
                    <a:pt x="610" y="415"/>
                  </a:lnTo>
                  <a:lnTo>
                    <a:pt x="610" y="414"/>
                  </a:lnTo>
                  <a:lnTo>
                    <a:pt x="610" y="413"/>
                  </a:lnTo>
                  <a:lnTo>
                    <a:pt x="610" y="412"/>
                  </a:lnTo>
                  <a:lnTo>
                    <a:pt x="610" y="411"/>
                  </a:lnTo>
                  <a:lnTo>
                    <a:pt x="610" y="410"/>
                  </a:lnTo>
                  <a:lnTo>
                    <a:pt x="610" y="409"/>
                  </a:lnTo>
                  <a:lnTo>
                    <a:pt x="610" y="408"/>
                  </a:lnTo>
                  <a:lnTo>
                    <a:pt x="610" y="407"/>
                  </a:lnTo>
                  <a:lnTo>
                    <a:pt x="610" y="406"/>
                  </a:lnTo>
                  <a:lnTo>
                    <a:pt x="610" y="405"/>
                  </a:lnTo>
                  <a:lnTo>
                    <a:pt x="610" y="404"/>
                  </a:lnTo>
                  <a:lnTo>
                    <a:pt x="610" y="403"/>
                  </a:lnTo>
                  <a:lnTo>
                    <a:pt x="610" y="402"/>
                  </a:lnTo>
                  <a:lnTo>
                    <a:pt x="609" y="401"/>
                  </a:lnTo>
                  <a:lnTo>
                    <a:pt x="609" y="400"/>
                  </a:lnTo>
                  <a:lnTo>
                    <a:pt x="592" y="402"/>
                  </a:lnTo>
                  <a:lnTo>
                    <a:pt x="592" y="403"/>
                  </a:lnTo>
                  <a:lnTo>
                    <a:pt x="592" y="404"/>
                  </a:lnTo>
                  <a:lnTo>
                    <a:pt x="592" y="405"/>
                  </a:lnTo>
                  <a:lnTo>
                    <a:pt x="592" y="406"/>
                  </a:lnTo>
                  <a:lnTo>
                    <a:pt x="592" y="406"/>
                  </a:lnTo>
                  <a:lnTo>
                    <a:pt x="592" y="407"/>
                  </a:lnTo>
                  <a:lnTo>
                    <a:pt x="592" y="408"/>
                  </a:lnTo>
                  <a:lnTo>
                    <a:pt x="592" y="409"/>
                  </a:lnTo>
                  <a:lnTo>
                    <a:pt x="592" y="410"/>
                  </a:lnTo>
                  <a:lnTo>
                    <a:pt x="593" y="411"/>
                  </a:lnTo>
                  <a:lnTo>
                    <a:pt x="593" y="412"/>
                  </a:lnTo>
                  <a:lnTo>
                    <a:pt x="593" y="412"/>
                  </a:lnTo>
                  <a:lnTo>
                    <a:pt x="593" y="413"/>
                  </a:lnTo>
                  <a:lnTo>
                    <a:pt x="593" y="414"/>
                  </a:lnTo>
                  <a:lnTo>
                    <a:pt x="593" y="415"/>
                  </a:lnTo>
                  <a:lnTo>
                    <a:pt x="593" y="416"/>
                  </a:lnTo>
                  <a:lnTo>
                    <a:pt x="593" y="417"/>
                  </a:lnTo>
                  <a:lnTo>
                    <a:pt x="593" y="418"/>
                  </a:lnTo>
                  <a:lnTo>
                    <a:pt x="593" y="419"/>
                  </a:lnTo>
                  <a:lnTo>
                    <a:pt x="593" y="419"/>
                  </a:lnTo>
                  <a:lnTo>
                    <a:pt x="610" y="419"/>
                  </a:lnTo>
                  <a:close/>
                  <a:moveTo>
                    <a:pt x="601" y="364"/>
                  </a:moveTo>
                  <a:lnTo>
                    <a:pt x="601" y="364"/>
                  </a:lnTo>
                  <a:lnTo>
                    <a:pt x="601" y="363"/>
                  </a:lnTo>
                  <a:lnTo>
                    <a:pt x="600" y="362"/>
                  </a:lnTo>
                  <a:lnTo>
                    <a:pt x="600" y="362"/>
                  </a:lnTo>
                  <a:lnTo>
                    <a:pt x="600" y="361"/>
                  </a:lnTo>
                  <a:lnTo>
                    <a:pt x="599" y="360"/>
                  </a:lnTo>
                  <a:lnTo>
                    <a:pt x="599" y="359"/>
                  </a:lnTo>
                  <a:lnTo>
                    <a:pt x="599" y="358"/>
                  </a:lnTo>
                  <a:lnTo>
                    <a:pt x="598" y="357"/>
                  </a:lnTo>
                  <a:lnTo>
                    <a:pt x="598" y="356"/>
                  </a:lnTo>
                  <a:lnTo>
                    <a:pt x="598" y="356"/>
                  </a:lnTo>
                  <a:lnTo>
                    <a:pt x="597" y="355"/>
                  </a:lnTo>
                  <a:lnTo>
                    <a:pt x="597" y="354"/>
                  </a:lnTo>
                  <a:lnTo>
                    <a:pt x="596" y="353"/>
                  </a:lnTo>
                  <a:lnTo>
                    <a:pt x="596" y="352"/>
                  </a:lnTo>
                  <a:lnTo>
                    <a:pt x="596" y="351"/>
                  </a:lnTo>
                  <a:lnTo>
                    <a:pt x="595" y="350"/>
                  </a:lnTo>
                  <a:lnTo>
                    <a:pt x="595" y="350"/>
                  </a:lnTo>
                  <a:lnTo>
                    <a:pt x="594" y="349"/>
                  </a:lnTo>
                  <a:lnTo>
                    <a:pt x="594" y="348"/>
                  </a:lnTo>
                  <a:lnTo>
                    <a:pt x="594" y="347"/>
                  </a:lnTo>
                  <a:lnTo>
                    <a:pt x="593" y="347"/>
                  </a:lnTo>
                  <a:lnTo>
                    <a:pt x="578" y="355"/>
                  </a:lnTo>
                  <a:lnTo>
                    <a:pt x="578" y="355"/>
                  </a:lnTo>
                  <a:lnTo>
                    <a:pt x="578" y="356"/>
                  </a:lnTo>
                  <a:lnTo>
                    <a:pt x="579" y="357"/>
                  </a:lnTo>
                  <a:lnTo>
                    <a:pt x="579" y="357"/>
                  </a:lnTo>
                  <a:lnTo>
                    <a:pt x="579" y="358"/>
                  </a:lnTo>
                  <a:lnTo>
                    <a:pt x="580" y="359"/>
                  </a:lnTo>
                  <a:lnTo>
                    <a:pt x="580" y="360"/>
                  </a:lnTo>
                  <a:lnTo>
                    <a:pt x="580" y="360"/>
                  </a:lnTo>
                  <a:lnTo>
                    <a:pt x="581" y="361"/>
                  </a:lnTo>
                  <a:lnTo>
                    <a:pt x="581" y="362"/>
                  </a:lnTo>
                  <a:lnTo>
                    <a:pt x="581" y="363"/>
                  </a:lnTo>
                  <a:lnTo>
                    <a:pt x="582" y="363"/>
                  </a:lnTo>
                  <a:lnTo>
                    <a:pt x="582" y="364"/>
                  </a:lnTo>
                  <a:lnTo>
                    <a:pt x="582" y="365"/>
                  </a:lnTo>
                  <a:lnTo>
                    <a:pt x="583" y="366"/>
                  </a:lnTo>
                  <a:lnTo>
                    <a:pt x="583" y="366"/>
                  </a:lnTo>
                  <a:lnTo>
                    <a:pt x="583" y="367"/>
                  </a:lnTo>
                  <a:lnTo>
                    <a:pt x="584" y="368"/>
                  </a:lnTo>
                  <a:lnTo>
                    <a:pt x="584" y="369"/>
                  </a:lnTo>
                  <a:lnTo>
                    <a:pt x="584" y="369"/>
                  </a:lnTo>
                  <a:lnTo>
                    <a:pt x="584" y="370"/>
                  </a:lnTo>
                  <a:lnTo>
                    <a:pt x="601" y="364"/>
                  </a:lnTo>
                  <a:close/>
                  <a:moveTo>
                    <a:pt x="573" y="316"/>
                  </a:moveTo>
                  <a:lnTo>
                    <a:pt x="573" y="316"/>
                  </a:lnTo>
                  <a:lnTo>
                    <a:pt x="572" y="316"/>
                  </a:lnTo>
                  <a:lnTo>
                    <a:pt x="572" y="315"/>
                  </a:lnTo>
                  <a:lnTo>
                    <a:pt x="571" y="315"/>
                  </a:lnTo>
                  <a:lnTo>
                    <a:pt x="570" y="314"/>
                  </a:lnTo>
                  <a:lnTo>
                    <a:pt x="570" y="313"/>
                  </a:lnTo>
                  <a:lnTo>
                    <a:pt x="569" y="313"/>
                  </a:lnTo>
                  <a:lnTo>
                    <a:pt x="569" y="312"/>
                  </a:lnTo>
                  <a:lnTo>
                    <a:pt x="568" y="311"/>
                  </a:lnTo>
                  <a:lnTo>
                    <a:pt x="567" y="311"/>
                  </a:lnTo>
                  <a:lnTo>
                    <a:pt x="567" y="310"/>
                  </a:lnTo>
                  <a:lnTo>
                    <a:pt x="566" y="309"/>
                  </a:lnTo>
                  <a:lnTo>
                    <a:pt x="565" y="309"/>
                  </a:lnTo>
                  <a:lnTo>
                    <a:pt x="565" y="308"/>
                  </a:lnTo>
                  <a:lnTo>
                    <a:pt x="564" y="307"/>
                  </a:lnTo>
                  <a:lnTo>
                    <a:pt x="563" y="307"/>
                  </a:lnTo>
                  <a:lnTo>
                    <a:pt x="563" y="306"/>
                  </a:lnTo>
                  <a:lnTo>
                    <a:pt x="562" y="305"/>
                  </a:lnTo>
                  <a:lnTo>
                    <a:pt x="561" y="305"/>
                  </a:lnTo>
                  <a:lnTo>
                    <a:pt x="561" y="304"/>
                  </a:lnTo>
                  <a:lnTo>
                    <a:pt x="560" y="304"/>
                  </a:lnTo>
                  <a:lnTo>
                    <a:pt x="559" y="303"/>
                  </a:lnTo>
                  <a:lnTo>
                    <a:pt x="548" y="316"/>
                  </a:lnTo>
                  <a:lnTo>
                    <a:pt x="548" y="317"/>
                  </a:lnTo>
                  <a:lnTo>
                    <a:pt x="549" y="317"/>
                  </a:lnTo>
                  <a:lnTo>
                    <a:pt x="549" y="318"/>
                  </a:lnTo>
                  <a:lnTo>
                    <a:pt x="550" y="318"/>
                  </a:lnTo>
                  <a:lnTo>
                    <a:pt x="551" y="319"/>
                  </a:lnTo>
                  <a:lnTo>
                    <a:pt x="551" y="319"/>
                  </a:lnTo>
                  <a:lnTo>
                    <a:pt x="552" y="320"/>
                  </a:lnTo>
                  <a:lnTo>
                    <a:pt x="552" y="320"/>
                  </a:lnTo>
                  <a:lnTo>
                    <a:pt x="553" y="321"/>
                  </a:lnTo>
                  <a:lnTo>
                    <a:pt x="554" y="322"/>
                  </a:lnTo>
                  <a:lnTo>
                    <a:pt x="554" y="322"/>
                  </a:lnTo>
                  <a:lnTo>
                    <a:pt x="555" y="323"/>
                  </a:lnTo>
                  <a:lnTo>
                    <a:pt x="555" y="323"/>
                  </a:lnTo>
                  <a:lnTo>
                    <a:pt x="556" y="324"/>
                  </a:lnTo>
                  <a:lnTo>
                    <a:pt x="556" y="325"/>
                  </a:lnTo>
                  <a:lnTo>
                    <a:pt x="557" y="325"/>
                  </a:lnTo>
                  <a:lnTo>
                    <a:pt x="557" y="326"/>
                  </a:lnTo>
                  <a:lnTo>
                    <a:pt x="558" y="326"/>
                  </a:lnTo>
                  <a:lnTo>
                    <a:pt x="559" y="327"/>
                  </a:lnTo>
                  <a:lnTo>
                    <a:pt x="559" y="328"/>
                  </a:lnTo>
                  <a:lnTo>
                    <a:pt x="559" y="328"/>
                  </a:lnTo>
                  <a:lnTo>
                    <a:pt x="573" y="316"/>
                  </a:lnTo>
                  <a:close/>
                  <a:moveTo>
                    <a:pt x="529" y="282"/>
                  </a:moveTo>
                  <a:lnTo>
                    <a:pt x="529" y="282"/>
                  </a:lnTo>
                  <a:lnTo>
                    <a:pt x="529" y="281"/>
                  </a:lnTo>
                  <a:lnTo>
                    <a:pt x="528" y="281"/>
                  </a:lnTo>
                  <a:lnTo>
                    <a:pt x="527" y="280"/>
                  </a:lnTo>
                  <a:lnTo>
                    <a:pt x="526" y="280"/>
                  </a:lnTo>
                  <a:lnTo>
                    <a:pt x="525" y="280"/>
                  </a:lnTo>
                  <a:lnTo>
                    <a:pt x="524" y="279"/>
                  </a:lnTo>
                  <a:lnTo>
                    <a:pt x="524" y="279"/>
                  </a:lnTo>
                  <a:lnTo>
                    <a:pt x="523" y="278"/>
                  </a:lnTo>
                  <a:lnTo>
                    <a:pt x="522" y="278"/>
                  </a:lnTo>
                  <a:lnTo>
                    <a:pt x="521" y="278"/>
                  </a:lnTo>
                  <a:lnTo>
                    <a:pt x="520" y="277"/>
                  </a:lnTo>
                  <a:lnTo>
                    <a:pt x="519" y="277"/>
                  </a:lnTo>
                  <a:lnTo>
                    <a:pt x="518" y="277"/>
                  </a:lnTo>
                  <a:lnTo>
                    <a:pt x="518" y="276"/>
                  </a:lnTo>
                  <a:lnTo>
                    <a:pt x="517" y="276"/>
                  </a:lnTo>
                  <a:lnTo>
                    <a:pt x="516" y="275"/>
                  </a:lnTo>
                  <a:lnTo>
                    <a:pt x="515" y="275"/>
                  </a:lnTo>
                  <a:lnTo>
                    <a:pt x="514" y="275"/>
                  </a:lnTo>
                  <a:lnTo>
                    <a:pt x="513" y="274"/>
                  </a:lnTo>
                  <a:lnTo>
                    <a:pt x="512" y="274"/>
                  </a:lnTo>
                  <a:lnTo>
                    <a:pt x="512" y="274"/>
                  </a:lnTo>
                  <a:lnTo>
                    <a:pt x="506" y="290"/>
                  </a:lnTo>
                  <a:lnTo>
                    <a:pt x="506" y="290"/>
                  </a:lnTo>
                  <a:lnTo>
                    <a:pt x="507" y="291"/>
                  </a:lnTo>
                  <a:lnTo>
                    <a:pt x="508" y="291"/>
                  </a:lnTo>
                  <a:lnTo>
                    <a:pt x="508" y="291"/>
                  </a:lnTo>
                  <a:lnTo>
                    <a:pt x="509" y="292"/>
                  </a:lnTo>
                  <a:lnTo>
                    <a:pt x="510" y="292"/>
                  </a:lnTo>
                  <a:lnTo>
                    <a:pt x="511" y="292"/>
                  </a:lnTo>
                  <a:lnTo>
                    <a:pt x="511" y="293"/>
                  </a:lnTo>
                  <a:lnTo>
                    <a:pt x="512" y="293"/>
                  </a:lnTo>
                  <a:lnTo>
                    <a:pt x="513" y="293"/>
                  </a:lnTo>
                  <a:lnTo>
                    <a:pt x="514" y="294"/>
                  </a:lnTo>
                  <a:lnTo>
                    <a:pt x="514" y="294"/>
                  </a:lnTo>
                  <a:lnTo>
                    <a:pt x="515" y="294"/>
                  </a:lnTo>
                  <a:lnTo>
                    <a:pt x="516" y="295"/>
                  </a:lnTo>
                  <a:lnTo>
                    <a:pt x="517" y="295"/>
                  </a:lnTo>
                  <a:lnTo>
                    <a:pt x="517" y="295"/>
                  </a:lnTo>
                  <a:lnTo>
                    <a:pt x="518" y="296"/>
                  </a:lnTo>
                  <a:lnTo>
                    <a:pt x="519" y="296"/>
                  </a:lnTo>
                  <a:lnTo>
                    <a:pt x="520" y="297"/>
                  </a:lnTo>
                  <a:lnTo>
                    <a:pt x="520" y="297"/>
                  </a:lnTo>
                  <a:lnTo>
                    <a:pt x="521" y="297"/>
                  </a:lnTo>
                  <a:lnTo>
                    <a:pt x="529" y="282"/>
                  </a:lnTo>
                  <a:close/>
                  <a:moveTo>
                    <a:pt x="457" y="231"/>
                  </a:moveTo>
                  <a:lnTo>
                    <a:pt x="457" y="231"/>
                  </a:lnTo>
                  <a:cubicBezTo>
                    <a:pt x="354" y="231"/>
                    <a:pt x="271" y="314"/>
                    <a:pt x="271" y="417"/>
                  </a:cubicBezTo>
                  <a:cubicBezTo>
                    <a:pt x="271" y="520"/>
                    <a:pt x="354" y="603"/>
                    <a:pt x="457" y="603"/>
                  </a:cubicBezTo>
                  <a:cubicBezTo>
                    <a:pt x="560" y="603"/>
                    <a:pt x="643" y="520"/>
                    <a:pt x="643" y="417"/>
                  </a:cubicBezTo>
                  <a:cubicBezTo>
                    <a:pt x="643" y="314"/>
                    <a:pt x="560" y="231"/>
                    <a:pt x="457" y="231"/>
                  </a:cubicBezTo>
                  <a:close/>
                  <a:moveTo>
                    <a:pt x="30" y="153"/>
                  </a:moveTo>
                  <a:lnTo>
                    <a:pt x="30" y="153"/>
                  </a:lnTo>
                  <a:cubicBezTo>
                    <a:pt x="66" y="150"/>
                    <a:pt x="102" y="148"/>
                    <a:pt x="138" y="147"/>
                  </a:cubicBezTo>
                  <a:cubicBezTo>
                    <a:pt x="114" y="146"/>
                    <a:pt x="89" y="144"/>
                    <a:pt x="65" y="141"/>
                  </a:cubicBezTo>
                  <a:cubicBezTo>
                    <a:pt x="49" y="139"/>
                    <a:pt x="35" y="128"/>
                    <a:pt x="35" y="111"/>
                  </a:cubicBezTo>
                  <a:cubicBezTo>
                    <a:pt x="35" y="87"/>
                    <a:pt x="35" y="63"/>
                    <a:pt x="35" y="39"/>
                  </a:cubicBezTo>
                  <a:cubicBezTo>
                    <a:pt x="35" y="23"/>
                    <a:pt x="49" y="11"/>
                    <a:pt x="65" y="9"/>
                  </a:cubicBezTo>
                  <a:cubicBezTo>
                    <a:pt x="163" y="0"/>
                    <a:pt x="260" y="0"/>
                    <a:pt x="358" y="9"/>
                  </a:cubicBezTo>
                  <a:cubicBezTo>
                    <a:pt x="374" y="11"/>
                    <a:pt x="388" y="23"/>
                    <a:pt x="388" y="39"/>
                  </a:cubicBezTo>
                  <a:cubicBezTo>
                    <a:pt x="388" y="63"/>
                    <a:pt x="388" y="87"/>
                    <a:pt x="388" y="111"/>
                  </a:cubicBezTo>
                  <a:cubicBezTo>
                    <a:pt x="388" y="128"/>
                    <a:pt x="374" y="139"/>
                    <a:pt x="358" y="141"/>
                  </a:cubicBezTo>
                  <a:cubicBezTo>
                    <a:pt x="323" y="145"/>
                    <a:pt x="287" y="147"/>
                    <a:pt x="252" y="148"/>
                  </a:cubicBezTo>
                  <a:cubicBezTo>
                    <a:pt x="276" y="150"/>
                    <a:pt x="299" y="151"/>
                    <a:pt x="323" y="153"/>
                  </a:cubicBezTo>
                  <a:cubicBezTo>
                    <a:pt x="339" y="155"/>
                    <a:pt x="353" y="167"/>
                    <a:pt x="353" y="183"/>
                  </a:cubicBezTo>
                  <a:lnTo>
                    <a:pt x="353" y="218"/>
                  </a:lnTo>
                  <a:cubicBezTo>
                    <a:pt x="333" y="229"/>
                    <a:pt x="314" y="242"/>
                    <a:pt x="299" y="258"/>
                  </a:cubicBezTo>
                  <a:cubicBezTo>
                    <a:pt x="289" y="268"/>
                    <a:pt x="280" y="278"/>
                    <a:pt x="272" y="290"/>
                  </a:cubicBezTo>
                  <a:cubicBezTo>
                    <a:pt x="191" y="296"/>
                    <a:pt x="111" y="294"/>
                    <a:pt x="30" y="285"/>
                  </a:cubicBezTo>
                  <a:cubicBezTo>
                    <a:pt x="13" y="283"/>
                    <a:pt x="0" y="272"/>
                    <a:pt x="0" y="255"/>
                  </a:cubicBezTo>
                  <a:cubicBezTo>
                    <a:pt x="0" y="231"/>
                    <a:pt x="0" y="207"/>
                    <a:pt x="0" y="183"/>
                  </a:cubicBezTo>
                  <a:cubicBezTo>
                    <a:pt x="0" y="167"/>
                    <a:pt x="13" y="155"/>
                    <a:pt x="30" y="153"/>
                  </a:cubicBezTo>
                  <a:close/>
                </a:path>
              </a:pathLst>
            </a:custGeom>
            <a:solidFill>
              <a:srgbClr val="FDFDFD"/>
            </a:solidFill>
            <a:ln>
              <a:noFill/>
            </a:ln>
          </p:spPr>
          <p:txBody>
            <a:bodyPr vert="horz" wrap="square" lIns="91440" tIns="45720" rIns="91440" bIns="45720" numCol="1" anchor="t" anchorCtr="0" compatLnSpc="1"/>
            <a:lstStyle/>
            <a:p>
              <a:endParaRPr lang="zh-CN" altLang="en-US">
                <a:solidFill>
                  <a:schemeClr val="accent2"/>
                </a:solidFill>
              </a:endParaRPr>
            </a:p>
          </p:txBody>
        </p:sp>
        <p:sp>
          <p:nvSpPr>
            <p:cNvPr id="17" name="文本框 16"/>
            <p:cNvSpPr txBox="1"/>
            <p:nvPr/>
          </p:nvSpPr>
          <p:spPr>
            <a:xfrm>
              <a:off x="1015882" y="3624416"/>
              <a:ext cx="1422184" cy="461665"/>
            </a:xfrm>
            <a:prstGeom prst="rect">
              <a:avLst/>
            </a:prstGeom>
            <a:noFill/>
          </p:spPr>
          <p:txBody>
            <a:bodyPr wrap="none" rtlCol="0">
              <a:spAutoFit/>
            </a:bodyPr>
            <a:lstStyle/>
            <a:p>
              <a:r>
                <a:rPr lang="zh-CN" altLang="en-US" sz="2400" b="1" dirty="0">
                  <a:solidFill>
                    <a:srgbClr val="FFFFFF"/>
                  </a:solidFill>
                  <a:latin typeface="等线 Light" panose="02010600030101010101" pitchFamily="2" charset="-122"/>
                  <a:ea typeface="等线 Light" panose="02010600030101010101" pitchFamily="2" charset="-122"/>
                </a:rPr>
                <a:t>您的标题</a:t>
              </a:r>
            </a:p>
          </p:txBody>
        </p:sp>
      </p:grpSp>
      <p:grpSp>
        <p:nvGrpSpPr>
          <p:cNvPr id="24" name="组合 23"/>
          <p:cNvGrpSpPr/>
          <p:nvPr/>
        </p:nvGrpSpPr>
        <p:grpSpPr>
          <a:xfrm>
            <a:off x="2795126" y="1600645"/>
            <a:ext cx="2868176" cy="4797274"/>
            <a:chOff x="2234687" y="1851368"/>
            <a:chExt cx="2868176" cy="4797274"/>
          </a:xfrm>
        </p:grpSpPr>
        <p:sp>
          <p:nvSpPr>
            <p:cNvPr id="25" name="任意多边形 9"/>
            <p:cNvSpPr/>
            <p:nvPr/>
          </p:nvSpPr>
          <p:spPr>
            <a:xfrm flipH="1">
              <a:off x="2234687" y="1851368"/>
              <a:ext cx="2868176" cy="2518905"/>
            </a:xfrm>
            <a:custGeom>
              <a:avLst/>
              <a:gdLst>
                <a:gd name="connsiteX0" fmla="*/ 1012372 w 2024744"/>
                <a:gd name="connsiteY0" fmla="*/ 0 h 1778181"/>
                <a:gd name="connsiteX1" fmla="*/ 2024744 w 2024744"/>
                <a:gd name="connsiteY1" fmla="*/ 803366 h 1778181"/>
                <a:gd name="connsiteX2" fmla="*/ 1578399 w 2024744"/>
                <a:gd name="connsiteY2" fmla="*/ 1469530 h 1778181"/>
                <a:gd name="connsiteX3" fmla="*/ 1571378 w 2024744"/>
                <a:gd name="connsiteY3" fmla="*/ 1472554 h 1778181"/>
                <a:gd name="connsiteX4" fmla="*/ 1526368 w 2024744"/>
                <a:gd name="connsiteY4" fmla="*/ 1533011 h 1778181"/>
                <a:gd name="connsiteX5" fmla="*/ 1258661 w 2024744"/>
                <a:gd name="connsiteY5" fmla="*/ 1778181 h 1778181"/>
                <a:gd name="connsiteX6" fmla="*/ 1331080 w 2024744"/>
                <a:gd name="connsiteY6" fmla="*/ 1576978 h 1778181"/>
                <a:gd name="connsiteX7" fmla="*/ 1333637 w 2024744"/>
                <a:gd name="connsiteY7" fmla="*/ 1564743 h 1778181"/>
                <a:gd name="connsiteX8" fmla="*/ 1313421 w 2024744"/>
                <a:gd name="connsiteY8" fmla="*/ 1570614 h 1778181"/>
                <a:gd name="connsiteX9" fmla="*/ 1012372 w 2024744"/>
                <a:gd name="connsiteY9" fmla="*/ 1606732 h 1778181"/>
                <a:gd name="connsiteX10" fmla="*/ 0 w 2024744"/>
                <a:gd name="connsiteY10" fmla="*/ 803366 h 1778181"/>
                <a:gd name="connsiteX11" fmla="*/ 1012372 w 2024744"/>
                <a:gd name="connsiteY11" fmla="*/ 0 h 177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4744" h="1778181">
                  <a:moveTo>
                    <a:pt x="1012372" y="0"/>
                  </a:moveTo>
                  <a:cubicBezTo>
                    <a:pt x="1571490" y="0"/>
                    <a:pt x="2024744" y="359679"/>
                    <a:pt x="2024744" y="803366"/>
                  </a:cubicBezTo>
                  <a:cubicBezTo>
                    <a:pt x="2024744" y="1080670"/>
                    <a:pt x="1847692" y="1325159"/>
                    <a:pt x="1578399" y="1469530"/>
                  </a:cubicBezTo>
                  <a:lnTo>
                    <a:pt x="1571378" y="1472554"/>
                  </a:lnTo>
                  <a:lnTo>
                    <a:pt x="1526368" y="1533011"/>
                  </a:lnTo>
                  <a:cubicBezTo>
                    <a:pt x="1453040" y="1624455"/>
                    <a:pt x="1358502" y="1720761"/>
                    <a:pt x="1258661" y="1778181"/>
                  </a:cubicBezTo>
                  <a:cubicBezTo>
                    <a:pt x="1290264" y="1709935"/>
                    <a:pt x="1314011" y="1643260"/>
                    <a:pt x="1331080" y="1576978"/>
                  </a:cubicBezTo>
                  <a:lnTo>
                    <a:pt x="1333637" y="1564743"/>
                  </a:lnTo>
                  <a:lnTo>
                    <a:pt x="1313421" y="1570614"/>
                  </a:lnTo>
                  <a:cubicBezTo>
                    <a:pt x="1218319" y="1594087"/>
                    <a:pt x="1117207" y="1606732"/>
                    <a:pt x="1012372" y="1606732"/>
                  </a:cubicBezTo>
                  <a:cubicBezTo>
                    <a:pt x="453254" y="1606732"/>
                    <a:pt x="0" y="1247053"/>
                    <a:pt x="0" y="803366"/>
                  </a:cubicBezTo>
                  <a:cubicBezTo>
                    <a:pt x="0" y="359679"/>
                    <a:pt x="453254" y="0"/>
                    <a:pt x="1012372" y="0"/>
                  </a:cubicBezTo>
                  <a:close/>
                </a:path>
              </a:pathLst>
            </a:custGeom>
            <a:solidFill>
              <a:srgbClr val="247C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6" name="组合 25"/>
            <p:cNvGrpSpPr/>
            <p:nvPr/>
          </p:nvGrpSpPr>
          <p:grpSpPr>
            <a:xfrm>
              <a:off x="3061007" y="4574617"/>
              <a:ext cx="1034810" cy="2074025"/>
              <a:chOff x="1647825" y="4345931"/>
              <a:chExt cx="816298" cy="1636071"/>
            </a:xfrm>
            <a:solidFill>
              <a:srgbClr val="247CAE"/>
            </a:solidFill>
          </p:grpSpPr>
          <p:sp>
            <p:nvSpPr>
              <p:cNvPr id="29" name="椭圆 28"/>
              <p:cNvSpPr/>
              <p:nvPr/>
            </p:nvSpPr>
            <p:spPr>
              <a:xfrm>
                <a:off x="1888535" y="4345931"/>
                <a:ext cx="275698" cy="2756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0" name="任意多边形 20"/>
              <p:cNvSpPr/>
              <p:nvPr/>
            </p:nvSpPr>
            <p:spPr>
              <a:xfrm>
                <a:off x="1663381" y="4650115"/>
                <a:ext cx="771956" cy="611131"/>
              </a:xfrm>
              <a:custGeom>
                <a:avLst/>
                <a:gdLst>
                  <a:gd name="connsiteX0" fmla="*/ 101089 w 771956"/>
                  <a:gd name="connsiteY0" fmla="*/ 592751 h 611131"/>
                  <a:gd name="connsiteX1" fmla="*/ 0 w 771956"/>
                  <a:gd name="connsiteY1" fmla="*/ 583561 h 611131"/>
                  <a:gd name="connsiteX2" fmla="*/ 133254 w 771956"/>
                  <a:gd name="connsiteY2" fmla="*/ 87304 h 611131"/>
                  <a:gd name="connsiteX3" fmla="*/ 349218 w 771956"/>
                  <a:gd name="connsiteY3" fmla="*/ 0 h 611131"/>
                  <a:gd name="connsiteX4" fmla="*/ 422738 w 771956"/>
                  <a:gd name="connsiteY4" fmla="*/ 4595 h 611131"/>
                  <a:gd name="connsiteX5" fmla="*/ 634106 w 771956"/>
                  <a:gd name="connsiteY5" fmla="*/ 68924 h 611131"/>
                  <a:gd name="connsiteX6" fmla="*/ 771956 w 771956"/>
                  <a:gd name="connsiteY6" fmla="*/ 588156 h 611131"/>
                  <a:gd name="connsiteX7" fmla="*/ 684651 w 771956"/>
                  <a:gd name="connsiteY7" fmla="*/ 611131 h 611131"/>
                  <a:gd name="connsiteX8" fmla="*/ 583562 w 771956"/>
                  <a:gd name="connsiteY8" fmla="*/ 220558 h 611131"/>
                  <a:gd name="connsiteX9" fmla="*/ 537612 w 771956"/>
                  <a:gd name="connsiteY9" fmla="*/ 238938 h 611131"/>
                  <a:gd name="connsiteX10" fmla="*/ 537612 w 771956"/>
                  <a:gd name="connsiteY10" fmla="*/ 555992 h 611131"/>
                  <a:gd name="connsiteX11" fmla="*/ 225154 w 771956"/>
                  <a:gd name="connsiteY11" fmla="*/ 555992 h 611131"/>
                  <a:gd name="connsiteX12" fmla="*/ 225154 w 771956"/>
                  <a:gd name="connsiteY12" fmla="*/ 229748 h 611131"/>
                  <a:gd name="connsiteX13" fmla="*/ 188394 w 771956"/>
                  <a:gd name="connsiteY13" fmla="*/ 234343 h 611131"/>
                  <a:gd name="connsiteX14" fmla="*/ 101089 w 771956"/>
                  <a:gd name="connsiteY14" fmla="*/ 592751 h 611131"/>
                  <a:gd name="connsiteX0-1" fmla="*/ 101089 w 771956"/>
                  <a:gd name="connsiteY0-2" fmla="*/ 592751 h 611131"/>
                  <a:gd name="connsiteX1-3" fmla="*/ 0 w 771956"/>
                  <a:gd name="connsiteY1-4" fmla="*/ 583561 h 611131"/>
                  <a:gd name="connsiteX2-5" fmla="*/ 133254 w 771956"/>
                  <a:gd name="connsiteY2-6" fmla="*/ 87304 h 611131"/>
                  <a:gd name="connsiteX3-7" fmla="*/ 349218 w 771956"/>
                  <a:gd name="connsiteY3-8" fmla="*/ 0 h 611131"/>
                  <a:gd name="connsiteX4-9" fmla="*/ 422738 w 771956"/>
                  <a:gd name="connsiteY4-10" fmla="*/ 4595 h 611131"/>
                  <a:gd name="connsiteX5-11" fmla="*/ 634106 w 771956"/>
                  <a:gd name="connsiteY5-12" fmla="*/ 68924 h 611131"/>
                  <a:gd name="connsiteX6-13" fmla="*/ 771956 w 771956"/>
                  <a:gd name="connsiteY6-14" fmla="*/ 588156 h 611131"/>
                  <a:gd name="connsiteX7-15" fmla="*/ 684651 w 771956"/>
                  <a:gd name="connsiteY7-16" fmla="*/ 611131 h 611131"/>
                  <a:gd name="connsiteX8-17" fmla="*/ 583562 w 771956"/>
                  <a:gd name="connsiteY8-18" fmla="*/ 220558 h 611131"/>
                  <a:gd name="connsiteX9-19" fmla="*/ 537612 w 771956"/>
                  <a:gd name="connsiteY9-20" fmla="*/ 238938 h 611131"/>
                  <a:gd name="connsiteX10-21" fmla="*/ 537612 w 771956"/>
                  <a:gd name="connsiteY10-22" fmla="*/ 555992 h 611131"/>
                  <a:gd name="connsiteX11-23" fmla="*/ 225154 w 771956"/>
                  <a:gd name="connsiteY11-24" fmla="*/ 555992 h 611131"/>
                  <a:gd name="connsiteX12-25" fmla="*/ 225154 w 771956"/>
                  <a:gd name="connsiteY12-26" fmla="*/ 229748 h 611131"/>
                  <a:gd name="connsiteX13-27" fmla="*/ 188394 w 771956"/>
                  <a:gd name="connsiteY13-28" fmla="*/ 234343 h 611131"/>
                  <a:gd name="connsiteX14-29" fmla="*/ 101089 w 771956"/>
                  <a:gd name="connsiteY14-30" fmla="*/ 592751 h 611131"/>
                  <a:gd name="connsiteX0-31" fmla="*/ 101089 w 771956"/>
                  <a:gd name="connsiteY0-32" fmla="*/ 592751 h 611131"/>
                  <a:gd name="connsiteX1-33" fmla="*/ 0 w 771956"/>
                  <a:gd name="connsiteY1-34" fmla="*/ 583561 h 611131"/>
                  <a:gd name="connsiteX2-35" fmla="*/ 133254 w 771956"/>
                  <a:gd name="connsiteY2-36" fmla="*/ 87304 h 611131"/>
                  <a:gd name="connsiteX3-37" fmla="*/ 349218 w 771956"/>
                  <a:gd name="connsiteY3-38" fmla="*/ 0 h 611131"/>
                  <a:gd name="connsiteX4-39" fmla="*/ 422738 w 771956"/>
                  <a:gd name="connsiteY4-40" fmla="*/ 4595 h 611131"/>
                  <a:gd name="connsiteX5-41" fmla="*/ 634106 w 771956"/>
                  <a:gd name="connsiteY5-42" fmla="*/ 68924 h 611131"/>
                  <a:gd name="connsiteX6-43" fmla="*/ 771956 w 771956"/>
                  <a:gd name="connsiteY6-44" fmla="*/ 588156 h 611131"/>
                  <a:gd name="connsiteX7-45" fmla="*/ 684651 w 771956"/>
                  <a:gd name="connsiteY7-46" fmla="*/ 611131 h 611131"/>
                  <a:gd name="connsiteX8-47" fmla="*/ 583562 w 771956"/>
                  <a:gd name="connsiteY8-48" fmla="*/ 220558 h 611131"/>
                  <a:gd name="connsiteX9-49" fmla="*/ 537612 w 771956"/>
                  <a:gd name="connsiteY9-50" fmla="*/ 238938 h 611131"/>
                  <a:gd name="connsiteX10-51" fmla="*/ 537612 w 771956"/>
                  <a:gd name="connsiteY10-52" fmla="*/ 555992 h 611131"/>
                  <a:gd name="connsiteX11-53" fmla="*/ 225154 w 771956"/>
                  <a:gd name="connsiteY11-54" fmla="*/ 555992 h 611131"/>
                  <a:gd name="connsiteX12-55" fmla="*/ 225154 w 771956"/>
                  <a:gd name="connsiteY12-56" fmla="*/ 229748 h 611131"/>
                  <a:gd name="connsiteX13-57" fmla="*/ 188394 w 771956"/>
                  <a:gd name="connsiteY13-58" fmla="*/ 234343 h 611131"/>
                  <a:gd name="connsiteX14-59" fmla="*/ 101089 w 771956"/>
                  <a:gd name="connsiteY14-60" fmla="*/ 592751 h 611131"/>
                  <a:gd name="connsiteX0-61" fmla="*/ 101089 w 771956"/>
                  <a:gd name="connsiteY0-62" fmla="*/ 592751 h 611131"/>
                  <a:gd name="connsiteX1-63" fmla="*/ 0 w 771956"/>
                  <a:gd name="connsiteY1-64" fmla="*/ 583561 h 611131"/>
                  <a:gd name="connsiteX2-65" fmla="*/ 133254 w 771956"/>
                  <a:gd name="connsiteY2-66" fmla="*/ 87304 h 611131"/>
                  <a:gd name="connsiteX3-67" fmla="*/ 349218 w 771956"/>
                  <a:gd name="connsiteY3-68" fmla="*/ 0 h 611131"/>
                  <a:gd name="connsiteX4-69" fmla="*/ 422738 w 771956"/>
                  <a:gd name="connsiteY4-70" fmla="*/ 4595 h 611131"/>
                  <a:gd name="connsiteX5-71" fmla="*/ 634106 w 771956"/>
                  <a:gd name="connsiteY5-72" fmla="*/ 68924 h 611131"/>
                  <a:gd name="connsiteX6-73" fmla="*/ 771956 w 771956"/>
                  <a:gd name="connsiteY6-74" fmla="*/ 588156 h 611131"/>
                  <a:gd name="connsiteX7-75" fmla="*/ 684651 w 771956"/>
                  <a:gd name="connsiteY7-76" fmla="*/ 611131 h 611131"/>
                  <a:gd name="connsiteX8-77" fmla="*/ 583562 w 771956"/>
                  <a:gd name="connsiteY8-78" fmla="*/ 220558 h 611131"/>
                  <a:gd name="connsiteX9-79" fmla="*/ 537612 w 771956"/>
                  <a:gd name="connsiteY9-80" fmla="*/ 238938 h 611131"/>
                  <a:gd name="connsiteX10-81" fmla="*/ 537612 w 771956"/>
                  <a:gd name="connsiteY10-82" fmla="*/ 555992 h 611131"/>
                  <a:gd name="connsiteX11-83" fmla="*/ 225154 w 771956"/>
                  <a:gd name="connsiteY11-84" fmla="*/ 555992 h 611131"/>
                  <a:gd name="connsiteX12-85" fmla="*/ 225154 w 771956"/>
                  <a:gd name="connsiteY12-86" fmla="*/ 229748 h 611131"/>
                  <a:gd name="connsiteX13-87" fmla="*/ 188394 w 771956"/>
                  <a:gd name="connsiteY13-88" fmla="*/ 234343 h 611131"/>
                  <a:gd name="connsiteX14-89" fmla="*/ 101089 w 771956"/>
                  <a:gd name="connsiteY14-90" fmla="*/ 592751 h 611131"/>
                  <a:gd name="connsiteX0-91" fmla="*/ 101089 w 771956"/>
                  <a:gd name="connsiteY0-92" fmla="*/ 592751 h 611131"/>
                  <a:gd name="connsiteX1-93" fmla="*/ 0 w 771956"/>
                  <a:gd name="connsiteY1-94" fmla="*/ 583561 h 611131"/>
                  <a:gd name="connsiteX2-95" fmla="*/ 133254 w 771956"/>
                  <a:gd name="connsiteY2-96" fmla="*/ 87304 h 611131"/>
                  <a:gd name="connsiteX3-97" fmla="*/ 349218 w 771956"/>
                  <a:gd name="connsiteY3-98" fmla="*/ 0 h 611131"/>
                  <a:gd name="connsiteX4-99" fmla="*/ 422738 w 771956"/>
                  <a:gd name="connsiteY4-100" fmla="*/ 4595 h 611131"/>
                  <a:gd name="connsiteX5-101" fmla="*/ 634106 w 771956"/>
                  <a:gd name="connsiteY5-102" fmla="*/ 68924 h 611131"/>
                  <a:gd name="connsiteX6-103" fmla="*/ 771956 w 771956"/>
                  <a:gd name="connsiteY6-104" fmla="*/ 588156 h 611131"/>
                  <a:gd name="connsiteX7-105" fmla="*/ 684651 w 771956"/>
                  <a:gd name="connsiteY7-106" fmla="*/ 611131 h 611131"/>
                  <a:gd name="connsiteX8-107" fmla="*/ 583562 w 771956"/>
                  <a:gd name="connsiteY8-108" fmla="*/ 220558 h 611131"/>
                  <a:gd name="connsiteX9-109" fmla="*/ 537612 w 771956"/>
                  <a:gd name="connsiteY9-110" fmla="*/ 238938 h 611131"/>
                  <a:gd name="connsiteX10-111" fmla="*/ 537612 w 771956"/>
                  <a:gd name="connsiteY10-112" fmla="*/ 555992 h 611131"/>
                  <a:gd name="connsiteX11-113" fmla="*/ 225154 w 771956"/>
                  <a:gd name="connsiteY11-114" fmla="*/ 555992 h 611131"/>
                  <a:gd name="connsiteX12-115" fmla="*/ 225154 w 771956"/>
                  <a:gd name="connsiteY12-116" fmla="*/ 229748 h 611131"/>
                  <a:gd name="connsiteX13-117" fmla="*/ 188394 w 771956"/>
                  <a:gd name="connsiteY13-118" fmla="*/ 234343 h 611131"/>
                  <a:gd name="connsiteX14-119" fmla="*/ 101089 w 771956"/>
                  <a:gd name="connsiteY14-120" fmla="*/ 592751 h 611131"/>
                  <a:gd name="connsiteX0-121" fmla="*/ 101089 w 771956"/>
                  <a:gd name="connsiteY0-122" fmla="*/ 592751 h 611131"/>
                  <a:gd name="connsiteX1-123" fmla="*/ 0 w 771956"/>
                  <a:gd name="connsiteY1-124" fmla="*/ 583561 h 611131"/>
                  <a:gd name="connsiteX2-125" fmla="*/ 133254 w 771956"/>
                  <a:gd name="connsiteY2-126" fmla="*/ 87304 h 611131"/>
                  <a:gd name="connsiteX3-127" fmla="*/ 349218 w 771956"/>
                  <a:gd name="connsiteY3-128" fmla="*/ 0 h 611131"/>
                  <a:gd name="connsiteX4-129" fmla="*/ 422738 w 771956"/>
                  <a:gd name="connsiteY4-130" fmla="*/ 2214 h 611131"/>
                  <a:gd name="connsiteX5-131" fmla="*/ 634106 w 771956"/>
                  <a:gd name="connsiteY5-132" fmla="*/ 68924 h 611131"/>
                  <a:gd name="connsiteX6-133" fmla="*/ 771956 w 771956"/>
                  <a:gd name="connsiteY6-134" fmla="*/ 588156 h 611131"/>
                  <a:gd name="connsiteX7-135" fmla="*/ 684651 w 771956"/>
                  <a:gd name="connsiteY7-136" fmla="*/ 611131 h 611131"/>
                  <a:gd name="connsiteX8-137" fmla="*/ 583562 w 771956"/>
                  <a:gd name="connsiteY8-138" fmla="*/ 220558 h 611131"/>
                  <a:gd name="connsiteX9-139" fmla="*/ 537612 w 771956"/>
                  <a:gd name="connsiteY9-140" fmla="*/ 238938 h 611131"/>
                  <a:gd name="connsiteX10-141" fmla="*/ 537612 w 771956"/>
                  <a:gd name="connsiteY10-142" fmla="*/ 555992 h 611131"/>
                  <a:gd name="connsiteX11-143" fmla="*/ 225154 w 771956"/>
                  <a:gd name="connsiteY11-144" fmla="*/ 555992 h 611131"/>
                  <a:gd name="connsiteX12-145" fmla="*/ 225154 w 771956"/>
                  <a:gd name="connsiteY12-146" fmla="*/ 229748 h 611131"/>
                  <a:gd name="connsiteX13-147" fmla="*/ 188394 w 771956"/>
                  <a:gd name="connsiteY13-148" fmla="*/ 234343 h 611131"/>
                  <a:gd name="connsiteX14-149" fmla="*/ 101089 w 771956"/>
                  <a:gd name="connsiteY14-150" fmla="*/ 592751 h 6111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771956" h="611131">
                    <a:moveTo>
                      <a:pt x="101089" y="592751"/>
                    </a:moveTo>
                    <a:lnTo>
                      <a:pt x="0" y="583561"/>
                    </a:lnTo>
                    <a:lnTo>
                      <a:pt x="133254" y="87304"/>
                    </a:lnTo>
                    <a:cubicBezTo>
                      <a:pt x="145711" y="62965"/>
                      <a:pt x="277230" y="29101"/>
                      <a:pt x="349218" y="0"/>
                    </a:cubicBezTo>
                    <a:lnTo>
                      <a:pt x="422738" y="2214"/>
                    </a:lnTo>
                    <a:cubicBezTo>
                      <a:pt x="493194" y="23657"/>
                      <a:pt x="625562" y="47481"/>
                      <a:pt x="634106" y="68924"/>
                    </a:cubicBezTo>
                    <a:lnTo>
                      <a:pt x="771956" y="588156"/>
                    </a:lnTo>
                    <a:lnTo>
                      <a:pt x="684651" y="611131"/>
                    </a:lnTo>
                    <a:lnTo>
                      <a:pt x="583562" y="220558"/>
                    </a:lnTo>
                    <a:cubicBezTo>
                      <a:pt x="573008" y="193347"/>
                      <a:pt x="552929" y="232811"/>
                      <a:pt x="537612" y="238938"/>
                    </a:cubicBezTo>
                    <a:lnTo>
                      <a:pt x="537612" y="555992"/>
                    </a:lnTo>
                    <a:lnTo>
                      <a:pt x="225154" y="555992"/>
                    </a:lnTo>
                    <a:lnTo>
                      <a:pt x="225154" y="229748"/>
                    </a:lnTo>
                    <a:cubicBezTo>
                      <a:pt x="212901" y="231280"/>
                      <a:pt x="198266" y="213761"/>
                      <a:pt x="188394" y="234343"/>
                    </a:cubicBezTo>
                    <a:lnTo>
                      <a:pt x="101089" y="59275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1" name="任意多边形 21"/>
              <p:cNvSpPr/>
              <p:nvPr/>
            </p:nvSpPr>
            <p:spPr>
              <a:xfrm>
                <a:off x="1647825" y="5272089"/>
                <a:ext cx="107156" cy="76972"/>
              </a:xfrm>
              <a:custGeom>
                <a:avLst/>
                <a:gdLst>
                  <a:gd name="connsiteX0" fmla="*/ 107156 w 107156"/>
                  <a:gd name="connsiteY0" fmla="*/ 23812 h 76200"/>
                  <a:gd name="connsiteX1" fmla="*/ 0 w 107156"/>
                  <a:gd name="connsiteY1" fmla="*/ 0 h 76200"/>
                  <a:gd name="connsiteX2" fmla="*/ 42863 w 107156"/>
                  <a:gd name="connsiteY2" fmla="*/ 76200 h 76200"/>
                  <a:gd name="connsiteX3" fmla="*/ 107156 w 107156"/>
                  <a:gd name="connsiteY3" fmla="*/ 23812 h 76200"/>
                  <a:gd name="connsiteX0-1" fmla="*/ 107156 w 107156"/>
                  <a:gd name="connsiteY0-2" fmla="*/ 23812 h 76200"/>
                  <a:gd name="connsiteX1-3" fmla="*/ 0 w 107156"/>
                  <a:gd name="connsiteY1-4" fmla="*/ 0 h 76200"/>
                  <a:gd name="connsiteX2-5" fmla="*/ 42863 w 107156"/>
                  <a:gd name="connsiteY2-6" fmla="*/ 76200 h 76200"/>
                  <a:gd name="connsiteX3-7" fmla="*/ 107156 w 107156"/>
                  <a:gd name="connsiteY3-8" fmla="*/ 23812 h 76200"/>
                  <a:gd name="connsiteX0-9" fmla="*/ 107156 w 107156"/>
                  <a:gd name="connsiteY0-10" fmla="*/ 23812 h 76200"/>
                  <a:gd name="connsiteX1-11" fmla="*/ 0 w 107156"/>
                  <a:gd name="connsiteY1-12" fmla="*/ 0 h 76200"/>
                  <a:gd name="connsiteX2-13" fmla="*/ 42863 w 107156"/>
                  <a:gd name="connsiteY2-14" fmla="*/ 76200 h 76200"/>
                  <a:gd name="connsiteX3-15" fmla="*/ 107156 w 107156"/>
                  <a:gd name="connsiteY3-16" fmla="*/ 23812 h 76200"/>
                  <a:gd name="connsiteX0-17" fmla="*/ 107156 w 107156"/>
                  <a:gd name="connsiteY0-18" fmla="*/ 23812 h 76857"/>
                  <a:gd name="connsiteX1-19" fmla="*/ 0 w 107156"/>
                  <a:gd name="connsiteY1-20" fmla="*/ 0 h 76857"/>
                  <a:gd name="connsiteX2-21" fmla="*/ 42863 w 107156"/>
                  <a:gd name="connsiteY2-22" fmla="*/ 76200 h 76857"/>
                  <a:gd name="connsiteX3-23" fmla="*/ 107156 w 107156"/>
                  <a:gd name="connsiteY3-24" fmla="*/ 23812 h 76857"/>
                  <a:gd name="connsiteX0-25" fmla="*/ 107156 w 107156"/>
                  <a:gd name="connsiteY0-26" fmla="*/ 23812 h 76972"/>
                  <a:gd name="connsiteX1-27" fmla="*/ 0 w 107156"/>
                  <a:gd name="connsiteY1-28" fmla="*/ 0 h 76972"/>
                  <a:gd name="connsiteX2-29" fmla="*/ 42863 w 107156"/>
                  <a:gd name="connsiteY2-30" fmla="*/ 76200 h 76972"/>
                  <a:gd name="connsiteX3-31" fmla="*/ 107156 w 107156"/>
                  <a:gd name="connsiteY3-32" fmla="*/ 23812 h 76972"/>
                </a:gdLst>
                <a:ahLst/>
                <a:cxnLst>
                  <a:cxn ang="0">
                    <a:pos x="connsiteX0-1" y="connsiteY0-2"/>
                  </a:cxn>
                  <a:cxn ang="0">
                    <a:pos x="connsiteX1-3" y="connsiteY1-4"/>
                  </a:cxn>
                  <a:cxn ang="0">
                    <a:pos x="connsiteX2-5" y="connsiteY2-6"/>
                  </a:cxn>
                  <a:cxn ang="0">
                    <a:pos x="connsiteX3-7" y="connsiteY3-8"/>
                  </a:cxn>
                </a:cxnLst>
                <a:rect l="l" t="t" r="r" b="b"/>
                <a:pathLst>
                  <a:path w="107156" h="76972">
                    <a:moveTo>
                      <a:pt x="107156" y="23812"/>
                    </a:moveTo>
                    <a:lnTo>
                      <a:pt x="0" y="0"/>
                    </a:lnTo>
                    <a:cubicBezTo>
                      <a:pt x="1" y="56356"/>
                      <a:pt x="16668" y="67469"/>
                      <a:pt x="42863" y="76200"/>
                    </a:cubicBezTo>
                    <a:cubicBezTo>
                      <a:pt x="73819" y="82549"/>
                      <a:pt x="95250" y="48419"/>
                      <a:pt x="107156" y="238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2" name="任意多边形 22"/>
              <p:cNvSpPr/>
              <p:nvPr/>
            </p:nvSpPr>
            <p:spPr>
              <a:xfrm flipH="1">
                <a:off x="2344848" y="5272089"/>
                <a:ext cx="107156" cy="76972"/>
              </a:xfrm>
              <a:custGeom>
                <a:avLst/>
                <a:gdLst>
                  <a:gd name="connsiteX0" fmla="*/ 107156 w 107156"/>
                  <a:gd name="connsiteY0" fmla="*/ 23812 h 76200"/>
                  <a:gd name="connsiteX1" fmla="*/ 0 w 107156"/>
                  <a:gd name="connsiteY1" fmla="*/ 0 h 76200"/>
                  <a:gd name="connsiteX2" fmla="*/ 42863 w 107156"/>
                  <a:gd name="connsiteY2" fmla="*/ 76200 h 76200"/>
                  <a:gd name="connsiteX3" fmla="*/ 107156 w 107156"/>
                  <a:gd name="connsiteY3" fmla="*/ 23812 h 76200"/>
                  <a:gd name="connsiteX0-1" fmla="*/ 107156 w 107156"/>
                  <a:gd name="connsiteY0-2" fmla="*/ 23812 h 76200"/>
                  <a:gd name="connsiteX1-3" fmla="*/ 0 w 107156"/>
                  <a:gd name="connsiteY1-4" fmla="*/ 0 h 76200"/>
                  <a:gd name="connsiteX2-5" fmla="*/ 42863 w 107156"/>
                  <a:gd name="connsiteY2-6" fmla="*/ 76200 h 76200"/>
                  <a:gd name="connsiteX3-7" fmla="*/ 107156 w 107156"/>
                  <a:gd name="connsiteY3-8" fmla="*/ 23812 h 76200"/>
                  <a:gd name="connsiteX0-9" fmla="*/ 107156 w 107156"/>
                  <a:gd name="connsiteY0-10" fmla="*/ 23812 h 76200"/>
                  <a:gd name="connsiteX1-11" fmla="*/ 0 w 107156"/>
                  <a:gd name="connsiteY1-12" fmla="*/ 0 h 76200"/>
                  <a:gd name="connsiteX2-13" fmla="*/ 42863 w 107156"/>
                  <a:gd name="connsiteY2-14" fmla="*/ 76200 h 76200"/>
                  <a:gd name="connsiteX3-15" fmla="*/ 107156 w 107156"/>
                  <a:gd name="connsiteY3-16" fmla="*/ 23812 h 76200"/>
                  <a:gd name="connsiteX0-17" fmla="*/ 107156 w 107156"/>
                  <a:gd name="connsiteY0-18" fmla="*/ 23812 h 76857"/>
                  <a:gd name="connsiteX1-19" fmla="*/ 0 w 107156"/>
                  <a:gd name="connsiteY1-20" fmla="*/ 0 h 76857"/>
                  <a:gd name="connsiteX2-21" fmla="*/ 42863 w 107156"/>
                  <a:gd name="connsiteY2-22" fmla="*/ 76200 h 76857"/>
                  <a:gd name="connsiteX3-23" fmla="*/ 107156 w 107156"/>
                  <a:gd name="connsiteY3-24" fmla="*/ 23812 h 76857"/>
                  <a:gd name="connsiteX0-25" fmla="*/ 107156 w 107156"/>
                  <a:gd name="connsiteY0-26" fmla="*/ 23812 h 76972"/>
                  <a:gd name="connsiteX1-27" fmla="*/ 0 w 107156"/>
                  <a:gd name="connsiteY1-28" fmla="*/ 0 h 76972"/>
                  <a:gd name="connsiteX2-29" fmla="*/ 42863 w 107156"/>
                  <a:gd name="connsiteY2-30" fmla="*/ 76200 h 76972"/>
                  <a:gd name="connsiteX3-31" fmla="*/ 107156 w 107156"/>
                  <a:gd name="connsiteY3-32" fmla="*/ 23812 h 76972"/>
                </a:gdLst>
                <a:ahLst/>
                <a:cxnLst>
                  <a:cxn ang="0">
                    <a:pos x="connsiteX0-1" y="connsiteY0-2"/>
                  </a:cxn>
                  <a:cxn ang="0">
                    <a:pos x="connsiteX1-3" y="connsiteY1-4"/>
                  </a:cxn>
                  <a:cxn ang="0">
                    <a:pos x="connsiteX2-5" y="connsiteY2-6"/>
                  </a:cxn>
                  <a:cxn ang="0">
                    <a:pos x="connsiteX3-7" y="connsiteY3-8"/>
                  </a:cxn>
                </a:cxnLst>
                <a:rect l="l" t="t" r="r" b="b"/>
                <a:pathLst>
                  <a:path w="107156" h="76972">
                    <a:moveTo>
                      <a:pt x="107156" y="23812"/>
                    </a:moveTo>
                    <a:lnTo>
                      <a:pt x="0" y="0"/>
                    </a:lnTo>
                    <a:cubicBezTo>
                      <a:pt x="1" y="56356"/>
                      <a:pt x="16668" y="67469"/>
                      <a:pt x="42863" y="76200"/>
                    </a:cubicBezTo>
                    <a:cubicBezTo>
                      <a:pt x="73819" y="82549"/>
                      <a:pt x="95250" y="48419"/>
                      <a:pt x="107156" y="238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3" name="任意多边形 23"/>
              <p:cNvSpPr/>
              <p:nvPr/>
            </p:nvSpPr>
            <p:spPr>
              <a:xfrm>
                <a:off x="2350293" y="5366534"/>
                <a:ext cx="113830" cy="412760"/>
              </a:xfrm>
              <a:custGeom>
                <a:avLst/>
                <a:gdLst>
                  <a:gd name="connsiteX0" fmla="*/ 34055 w 113830"/>
                  <a:gd name="connsiteY0" fmla="*/ 0 h 412760"/>
                  <a:gd name="connsiteX1" fmla="*/ 79774 w 113830"/>
                  <a:gd name="connsiteY1" fmla="*/ 0 h 412760"/>
                  <a:gd name="connsiteX2" fmla="*/ 79774 w 113830"/>
                  <a:gd name="connsiteY2" fmla="*/ 17472 h 412760"/>
                  <a:gd name="connsiteX3" fmla="*/ 94858 w 113830"/>
                  <a:gd name="connsiteY3" fmla="*/ 17472 h 412760"/>
                  <a:gd name="connsiteX4" fmla="*/ 113830 w 113830"/>
                  <a:gd name="connsiteY4" fmla="*/ 36444 h 412760"/>
                  <a:gd name="connsiteX5" fmla="*/ 113830 w 113830"/>
                  <a:gd name="connsiteY5" fmla="*/ 393788 h 412760"/>
                  <a:gd name="connsiteX6" fmla="*/ 94858 w 113830"/>
                  <a:gd name="connsiteY6" fmla="*/ 412760 h 412760"/>
                  <a:gd name="connsiteX7" fmla="*/ 18972 w 113830"/>
                  <a:gd name="connsiteY7" fmla="*/ 412760 h 412760"/>
                  <a:gd name="connsiteX8" fmla="*/ 0 w 113830"/>
                  <a:gd name="connsiteY8" fmla="*/ 393788 h 412760"/>
                  <a:gd name="connsiteX9" fmla="*/ 0 w 113830"/>
                  <a:gd name="connsiteY9" fmla="*/ 36444 h 412760"/>
                  <a:gd name="connsiteX10" fmla="*/ 18972 w 113830"/>
                  <a:gd name="connsiteY10" fmla="*/ 17472 h 412760"/>
                  <a:gd name="connsiteX11" fmla="*/ 34055 w 113830"/>
                  <a:gd name="connsiteY11" fmla="*/ 17472 h 41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830" h="412760">
                    <a:moveTo>
                      <a:pt x="34055" y="0"/>
                    </a:moveTo>
                    <a:lnTo>
                      <a:pt x="79774" y="0"/>
                    </a:lnTo>
                    <a:lnTo>
                      <a:pt x="79774" y="17472"/>
                    </a:lnTo>
                    <a:lnTo>
                      <a:pt x="94858" y="17472"/>
                    </a:lnTo>
                    <a:cubicBezTo>
                      <a:pt x="105336" y="17472"/>
                      <a:pt x="113830" y="25966"/>
                      <a:pt x="113830" y="36444"/>
                    </a:cubicBezTo>
                    <a:lnTo>
                      <a:pt x="113830" y="393788"/>
                    </a:lnTo>
                    <a:cubicBezTo>
                      <a:pt x="113830" y="404266"/>
                      <a:pt x="105336" y="412760"/>
                      <a:pt x="94858" y="412760"/>
                    </a:cubicBezTo>
                    <a:lnTo>
                      <a:pt x="18972" y="412760"/>
                    </a:lnTo>
                    <a:cubicBezTo>
                      <a:pt x="8494" y="412760"/>
                      <a:pt x="0" y="404266"/>
                      <a:pt x="0" y="393788"/>
                    </a:cubicBezTo>
                    <a:lnTo>
                      <a:pt x="0" y="36444"/>
                    </a:lnTo>
                    <a:cubicBezTo>
                      <a:pt x="0" y="25966"/>
                      <a:pt x="8494" y="17472"/>
                      <a:pt x="18972" y="17472"/>
                    </a:cubicBezTo>
                    <a:lnTo>
                      <a:pt x="34055" y="1747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 name="任意多边形 24"/>
              <p:cNvSpPr/>
              <p:nvPr/>
            </p:nvSpPr>
            <p:spPr>
              <a:xfrm>
                <a:off x="1900234" y="5253040"/>
                <a:ext cx="311951" cy="728962"/>
              </a:xfrm>
              <a:custGeom>
                <a:avLst/>
                <a:gdLst>
                  <a:gd name="connsiteX0" fmla="*/ 311943 w 311943"/>
                  <a:gd name="connsiteY0" fmla="*/ 647700 h 669131"/>
                  <a:gd name="connsiteX1" fmla="*/ 311943 w 311943"/>
                  <a:gd name="connsiteY1" fmla="*/ 0 h 669131"/>
                  <a:gd name="connsiteX2" fmla="*/ 0 w 311943"/>
                  <a:gd name="connsiteY2" fmla="*/ 0 h 669131"/>
                  <a:gd name="connsiteX3" fmla="*/ 0 w 311943"/>
                  <a:gd name="connsiteY3" fmla="*/ 669131 h 669131"/>
                  <a:gd name="connsiteX4" fmla="*/ 111918 w 311943"/>
                  <a:gd name="connsiteY4" fmla="*/ 669131 h 669131"/>
                  <a:gd name="connsiteX5" fmla="*/ 111918 w 311943"/>
                  <a:gd name="connsiteY5" fmla="*/ 92868 h 669131"/>
                  <a:gd name="connsiteX6" fmla="*/ 192881 w 311943"/>
                  <a:gd name="connsiteY6" fmla="*/ 92868 h 669131"/>
                  <a:gd name="connsiteX7" fmla="*/ 192881 w 311943"/>
                  <a:gd name="connsiteY7" fmla="*/ 652462 h 669131"/>
                  <a:gd name="connsiteX8" fmla="*/ 311943 w 311943"/>
                  <a:gd name="connsiteY8" fmla="*/ 647700 h 669131"/>
                  <a:gd name="connsiteX0-1" fmla="*/ 312037 w 312037"/>
                  <a:gd name="connsiteY0-2" fmla="*/ 647700 h 695589"/>
                  <a:gd name="connsiteX1-3" fmla="*/ 312037 w 312037"/>
                  <a:gd name="connsiteY1-4" fmla="*/ 0 h 695589"/>
                  <a:gd name="connsiteX2-5" fmla="*/ 94 w 312037"/>
                  <a:gd name="connsiteY2-6" fmla="*/ 0 h 695589"/>
                  <a:gd name="connsiteX3-7" fmla="*/ 94 w 312037"/>
                  <a:gd name="connsiteY3-8" fmla="*/ 669131 h 695589"/>
                  <a:gd name="connsiteX4-9" fmla="*/ 112012 w 312037"/>
                  <a:gd name="connsiteY4-10" fmla="*/ 669131 h 695589"/>
                  <a:gd name="connsiteX5-11" fmla="*/ 112012 w 312037"/>
                  <a:gd name="connsiteY5-12" fmla="*/ 92868 h 695589"/>
                  <a:gd name="connsiteX6-13" fmla="*/ 192975 w 312037"/>
                  <a:gd name="connsiteY6-14" fmla="*/ 92868 h 695589"/>
                  <a:gd name="connsiteX7-15" fmla="*/ 192975 w 312037"/>
                  <a:gd name="connsiteY7-16" fmla="*/ 652462 h 695589"/>
                  <a:gd name="connsiteX8-17" fmla="*/ 312037 w 312037"/>
                  <a:gd name="connsiteY8-18" fmla="*/ 647700 h 695589"/>
                  <a:gd name="connsiteX0-19" fmla="*/ 312010 w 312010"/>
                  <a:gd name="connsiteY0-20" fmla="*/ 647700 h 712012"/>
                  <a:gd name="connsiteX1-21" fmla="*/ 312010 w 312010"/>
                  <a:gd name="connsiteY1-22" fmla="*/ 0 h 712012"/>
                  <a:gd name="connsiteX2-23" fmla="*/ 67 w 312010"/>
                  <a:gd name="connsiteY2-24" fmla="*/ 0 h 712012"/>
                  <a:gd name="connsiteX3-25" fmla="*/ 67 w 312010"/>
                  <a:gd name="connsiteY3-26" fmla="*/ 669131 h 712012"/>
                  <a:gd name="connsiteX4-27" fmla="*/ 111985 w 312010"/>
                  <a:gd name="connsiteY4-28" fmla="*/ 669131 h 712012"/>
                  <a:gd name="connsiteX5-29" fmla="*/ 111985 w 312010"/>
                  <a:gd name="connsiteY5-30" fmla="*/ 92868 h 712012"/>
                  <a:gd name="connsiteX6-31" fmla="*/ 192948 w 312010"/>
                  <a:gd name="connsiteY6-32" fmla="*/ 92868 h 712012"/>
                  <a:gd name="connsiteX7-33" fmla="*/ 192948 w 312010"/>
                  <a:gd name="connsiteY7-34" fmla="*/ 652462 h 712012"/>
                  <a:gd name="connsiteX8-35" fmla="*/ 312010 w 312010"/>
                  <a:gd name="connsiteY8-36" fmla="*/ 647700 h 712012"/>
                  <a:gd name="connsiteX0-37" fmla="*/ 312010 w 312010"/>
                  <a:gd name="connsiteY0-38" fmla="*/ 647700 h 712012"/>
                  <a:gd name="connsiteX1-39" fmla="*/ 312010 w 312010"/>
                  <a:gd name="connsiteY1-40" fmla="*/ 0 h 712012"/>
                  <a:gd name="connsiteX2-41" fmla="*/ 67 w 312010"/>
                  <a:gd name="connsiteY2-42" fmla="*/ 0 h 712012"/>
                  <a:gd name="connsiteX3-43" fmla="*/ 67 w 312010"/>
                  <a:gd name="connsiteY3-44" fmla="*/ 669131 h 712012"/>
                  <a:gd name="connsiteX4-45" fmla="*/ 111985 w 312010"/>
                  <a:gd name="connsiteY4-46" fmla="*/ 669131 h 712012"/>
                  <a:gd name="connsiteX5-47" fmla="*/ 111985 w 312010"/>
                  <a:gd name="connsiteY5-48" fmla="*/ 92868 h 712012"/>
                  <a:gd name="connsiteX6-49" fmla="*/ 192948 w 312010"/>
                  <a:gd name="connsiteY6-50" fmla="*/ 92868 h 712012"/>
                  <a:gd name="connsiteX7-51" fmla="*/ 192948 w 312010"/>
                  <a:gd name="connsiteY7-52" fmla="*/ 652462 h 712012"/>
                  <a:gd name="connsiteX8-53" fmla="*/ 312010 w 312010"/>
                  <a:gd name="connsiteY8-54" fmla="*/ 647700 h 712012"/>
                  <a:gd name="connsiteX0-55" fmla="*/ 312010 w 312013"/>
                  <a:gd name="connsiteY0-56" fmla="*/ 647700 h 719108"/>
                  <a:gd name="connsiteX1-57" fmla="*/ 312010 w 312013"/>
                  <a:gd name="connsiteY1-58" fmla="*/ 0 h 719108"/>
                  <a:gd name="connsiteX2-59" fmla="*/ 67 w 312013"/>
                  <a:gd name="connsiteY2-60" fmla="*/ 0 h 719108"/>
                  <a:gd name="connsiteX3-61" fmla="*/ 67 w 312013"/>
                  <a:gd name="connsiteY3-62" fmla="*/ 669131 h 719108"/>
                  <a:gd name="connsiteX4-63" fmla="*/ 111985 w 312013"/>
                  <a:gd name="connsiteY4-64" fmla="*/ 669131 h 719108"/>
                  <a:gd name="connsiteX5-65" fmla="*/ 111985 w 312013"/>
                  <a:gd name="connsiteY5-66" fmla="*/ 92868 h 719108"/>
                  <a:gd name="connsiteX6-67" fmla="*/ 192948 w 312013"/>
                  <a:gd name="connsiteY6-68" fmla="*/ 92868 h 719108"/>
                  <a:gd name="connsiteX7-69" fmla="*/ 192948 w 312013"/>
                  <a:gd name="connsiteY7-70" fmla="*/ 652462 h 719108"/>
                  <a:gd name="connsiteX8-71" fmla="*/ 312010 w 312013"/>
                  <a:gd name="connsiteY8-72" fmla="*/ 647700 h 719108"/>
                  <a:gd name="connsiteX0-73" fmla="*/ 311948 w 311951"/>
                  <a:gd name="connsiteY0-74" fmla="*/ 647700 h 720495"/>
                  <a:gd name="connsiteX1-75" fmla="*/ 311948 w 311951"/>
                  <a:gd name="connsiteY1-76" fmla="*/ 0 h 720495"/>
                  <a:gd name="connsiteX2-77" fmla="*/ 5 w 311951"/>
                  <a:gd name="connsiteY2-78" fmla="*/ 0 h 720495"/>
                  <a:gd name="connsiteX3-79" fmla="*/ 5 w 311951"/>
                  <a:gd name="connsiteY3-80" fmla="*/ 669131 h 720495"/>
                  <a:gd name="connsiteX4-81" fmla="*/ 111923 w 311951"/>
                  <a:gd name="connsiteY4-82" fmla="*/ 669131 h 720495"/>
                  <a:gd name="connsiteX5-83" fmla="*/ 111923 w 311951"/>
                  <a:gd name="connsiteY5-84" fmla="*/ 92868 h 720495"/>
                  <a:gd name="connsiteX6-85" fmla="*/ 192886 w 311951"/>
                  <a:gd name="connsiteY6-86" fmla="*/ 92868 h 720495"/>
                  <a:gd name="connsiteX7-87" fmla="*/ 192886 w 311951"/>
                  <a:gd name="connsiteY7-88" fmla="*/ 652462 h 720495"/>
                  <a:gd name="connsiteX8-89" fmla="*/ 311948 w 311951"/>
                  <a:gd name="connsiteY8-90" fmla="*/ 647700 h 720495"/>
                  <a:gd name="connsiteX0-91" fmla="*/ 311948 w 311951"/>
                  <a:gd name="connsiteY0-92" fmla="*/ 647700 h 728962"/>
                  <a:gd name="connsiteX1-93" fmla="*/ 311948 w 311951"/>
                  <a:gd name="connsiteY1-94" fmla="*/ 0 h 728962"/>
                  <a:gd name="connsiteX2-95" fmla="*/ 5 w 311951"/>
                  <a:gd name="connsiteY2-96" fmla="*/ 0 h 728962"/>
                  <a:gd name="connsiteX3-97" fmla="*/ 5 w 311951"/>
                  <a:gd name="connsiteY3-98" fmla="*/ 669131 h 728962"/>
                  <a:gd name="connsiteX4-99" fmla="*/ 111923 w 311951"/>
                  <a:gd name="connsiteY4-100" fmla="*/ 669131 h 728962"/>
                  <a:gd name="connsiteX5-101" fmla="*/ 111923 w 311951"/>
                  <a:gd name="connsiteY5-102" fmla="*/ 92868 h 728962"/>
                  <a:gd name="connsiteX6-103" fmla="*/ 192886 w 311951"/>
                  <a:gd name="connsiteY6-104" fmla="*/ 92868 h 728962"/>
                  <a:gd name="connsiteX7-105" fmla="*/ 192886 w 311951"/>
                  <a:gd name="connsiteY7-106" fmla="*/ 652462 h 728962"/>
                  <a:gd name="connsiteX8-107" fmla="*/ 311948 w 311951"/>
                  <a:gd name="connsiteY8-108" fmla="*/ 647700 h 72896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311951" h="728962">
                    <a:moveTo>
                      <a:pt x="311948" y="647700"/>
                    </a:moveTo>
                    <a:lnTo>
                      <a:pt x="311948" y="0"/>
                    </a:lnTo>
                    <a:lnTo>
                      <a:pt x="5" y="0"/>
                    </a:lnTo>
                    <a:lnTo>
                      <a:pt x="5" y="669131"/>
                    </a:lnTo>
                    <a:cubicBezTo>
                      <a:pt x="-789" y="750093"/>
                      <a:pt x="107955" y="747712"/>
                      <a:pt x="111923" y="669131"/>
                    </a:cubicBezTo>
                    <a:lnTo>
                      <a:pt x="111923" y="92868"/>
                    </a:lnTo>
                    <a:lnTo>
                      <a:pt x="192886" y="92868"/>
                    </a:lnTo>
                    <a:lnTo>
                      <a:pt x="192886" y="652462"/>
                    </a:lnTo>
                    <a:cubicBezTo>
                      <a:pt x="192091" y="750888"/>
                      <a:pt x="312742" y="732630"/>
                      <a:pt x="311948" y="6477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7" name="Freeform 14"/>
            <p:cNvSpPr>
              <a:spLocks noEditPoints="1"/>
            </p:cNvSpPr>
            <p:nvPr/>
          </p:nvSpPr>
          <p:spPr bwMode="auto">
            <a:xfrm>
              <a:off x="3372767" y="2178986"/>
              <a:ext cx="499696" cy="497683"/>
            </a:xfrm>
            <a:custGeom>
              <a:avLst/>
              <a:gdLst>
                <a:gd name="T0" fmla="*/ 359 w 605"/>
                <a:gd name="T1" fmla="*/ 39 h 602"/>
                <a:gd name="T2" fmla="*/ 462 w 605"/>
                <a:gd name="T3" fmla="*/ 85 h 602"/>
                <a:gd name="T4" fmla="*/ 537 w 605"/>
                <a:gd name="T5" fmla="*/ 168 h 602"/>
                <a:gd name="T6" fmla="*/ 572 w 605"/>
                <a:gd name="T7" fmla="*/ 275 h 602"/>
                <a:gd name="T8" fmla="*/ 560 w 605"/>
                <a:gd name="T9" fmla="*/ 387 h 602"/>
                <a:gd name="T10" fmla="*/ 504 w 605"/>
                <a:gd name="T11" fmla="*/ 484 h 602"/>
                <a:gd name="T12" fmla="*/ 413 w 605"/>
                <a:gd name="T13" fmla="*/ 551 h 602"/>
                <a:gd name="T14" fmla="*/ 303 w 605"/>
                <a:gd name="T15" fmla="*/ 574 h 602"/>
                <a:gd name="T16" fmla="*/ 193 w 605"/>
                <a:gd name="T17" fmla="*/ 551 h 602"/>
                <a:gd name="T18" fmla="*/ 102 w 605"/>
                <a:gd name="T19" fmla="*/ 484 h 602"/>
                <a:gd name="T20" fmla="*/ 46 w 605"/>
                <a:gd name="T21" fmla="*/ 387 h 602"/>
                <a:gd name="T22" fmla="*/ 34 w 605"/>
                <a:gd name="T23" fmla="*/ 275 h 602"/>
                <a:gd name="T24" fmla="*/ 69 w 605"/>
                <a:gd name="T25" fmla="*/ 168 h 602"/>
                <a:gd name="T26" fmla="*/ 144 w 605"/>
                <a:gd name="T27" fmla="*/ 85 h 602"/>
                <a:gd name="T28" fmla="*/ 247 w 605"/>
                <a:gd name="T29" fmla="*/ 39 h 602"/>
                <a:gd name="T30" fmla="*/ 359 w 605"/>
                <a:gd name="T31" fmla="*/ 39 h 602"/>
                <a:gd name="T32" fmla="*/ 376 w 605"/>
                <a:gd name="T33" fmla="*/ 379 h 602"/>
                <a:gd name="T34" fmla="*/ 376 w 605"/>
                <a:gd name="T35" fmla="*/ 379 h 602"/>
                <a:gd name="T36" fmla="*/ 412 w 605"/>
                <a:gd name="T37" fmla="*/ 419 h 602"/>
                <a:gd name="T38" fmla="*/ 397 w 605"/>
                <a:gd name="T39" fmla="*/ 332 h 602"/>
                <a:gd name="T40" fmla="*/ 376 w 605"/>
                <a:gd name="T41" fmla="*/ 379 h 602"/>
                <a:gd name="T42" fmla="*/ 186 w 605"/>
                <a:gd name="T43" fmla="*/ 222 h 602"/>
                <a:gd name="T44" fmla="*/ 186 w 605"/>
                <a:gd name="T45" fmla="*/ 222 h 602"/>
                <a:gd name="T46" fmla="*/ 221 w 605"/>
                <a:gd name="T47" fmla="*/ 261 h 602"/>
                <a:gd name="T48" fmla="*/ 207 w 605"/>
                <a:gd name="T49" fmla="*/ 175 h 602"/>
                <a:gd name="T50" fmla="*/ 186 w 605"/>
                <a:gd name="T51" fmla="*/ 222 h 602"/>
                <a:gd name="T52" fmla="*/ 141 w 605"/>
                <a:gd name="T53" fmla="*/ 222 h 602"/>
                <a:gd name="T54" fmla="*/ 141 w 605"/>
                <a:gd name="T55" fmla="*/ 222 h 602"/>
                <a:gd name="T56" fmla="*/ 256 w 605"/>
                <a:gd name="T57" fmla="*/ 162 h 602"/>
                <a:gd name="T58" fmla="*/ 208 w 605"/>
                <a:gd name="T59" fmla="*/ 301 h 602"/>
                <a:gd name="T60" fmla="*/ 141 w 605"/>
                <a:gd name="T61" fmla="*/ 222 h 602"/>
                <a:gd name="T62" fmla="*/ 244 w 605"/>
                <a:gd name="T63" fmla="*/ 460 h 602"/>
                <a:gd name="T64" fmla="*/ 244 w 605"/>
                <a:gd name="T65" fmla="*/ 460 h 602"/>
                <a:gd name="T66" fmla="*/ 201 w 605"/>
                <a:gd name="T67" fmla="*/ 460 h 602"/>
                <a:gd name="T68" fmla="*/ 362 w 605"/>
                <a:gd name="T69" fmla="*/ 141 h 602"/>
                <a:gd name="T70" fmla="*/ 404 w 605"/>
                <a:gd name="T71" fmla="*/ 141 h 602"/>
                <a:gd name="T72" fmla="*/ 244 w 605"/>
                <a:gd name="T73" fmla="*/ 460 h 602"/>
                <a:gd name="T74" fmla="*/ 331 w 605"/>
                <a:gd name="T75" fmla="*/ 379 h 602"/>
                <a:gd name="T76" fmla="*/ 331 w 605"/>
                <a:gd name="T77" fmla="*/ 379 h 602"/>
                <a:gd name="T78" fmla="*/ 446 w 605"/>
                <a:gd name="T79" fmla="*/ 319 h 602"/>
                <a:gd name="T80" fmla="*/ 398 w 605"/>
                <a:gd name="T81" fmla="*/ 459 h 602"/>
                <a:gd name="T82" fmla="*/ 331 w 605"/>
                <a:gd name="T83" fmla="*/ 379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5" h="602">
                  <a:moveTo>
                    <a:pt x="359" y="39"/>
                  </a:moveTo>
                  <a:cubicBezTo>
                    <a:pt x="435" y="31"/>
                    <a:pt x="417" y="22"/>
                    <a:pt x="462" y="85"/>
                  </a:cubicBezTo>
                  <a:cubicBezTo>
                    <a:pt x="535" y="108"/>
                    <a:pt x="521" y="93"/>
                    <a:pt x="537" y="168"/>
                  </a:cubicBezTo>
                  <a:cubicBezTo>
                    <a:pt x="594" y="219"/>
                    <a:pt x="588" y="200"/>
                    <a:pt x="572" y="275"/>
                  </a:cubicBezTo>
                  <a:cubicBezTo>
                    <a:pt x="603" y="345"/>
                    <a:pt x="605" y="325"/>
                    <a:pt x="560" y="387"/>
                  </a:cubicBezTo>
                  <a:cubicBezTo>
                    <a:pt x="560" y="464"/>
                    <a:pt x="570" y="446"/>
                    <a:pt x="504" y="484"/>
                  </a:cubicBezTo>
                  <a:cubicBezTo>
                    <a:pt x="473" y="555"/>
                    <a:pt x="489" y="543"/>
                    <a:pt x="413" y="551"/>
                  </a:cubicBezTo>
                  <a:cubicBezTo>
                    <a:pt x="356" y="602"/>
                    <a:pt x="376" y="598"/>
                    <a:pt x="303" y="574"/>
                  </a:cubicBezTo>
                  <a:cubicBezTo>
                    <a:pt x="230" y="598"/>
                    <a:pt x="250" y="602"/>
                    <a:pt x="193" y="551"/>
                  </a:cubicBezTo>
                  <a:cubicBezTo>
                    <a:pt x="116" y="543"/>
                    <a:pt x="133" y="555"/>
                    <a:pt x="102" y="484"/>
                  </a:cubicBezTo>
                  <a:cubicBezTo>
                    <a:pt x="35" y="446"/>
                    <a:pt x="45" y="464"/>
                    <a:pt x="46" y="387"/>
                  </a:cubicBezTo>
                  <a:cubicBezTo>
                    <a:pt x="0" y="325"/>
                    <a:pt x="2" y="345"/>
                    <a:pt x="34" y="275"/>
                  </a:cubicBezTo>
                  <a:cubicBezTo>
                    <a:pt x="18" y="200"/>
                    <a:pt x="11" y="219"/>
                    <a:pt x="69" y="168"/>
                  </a:cubicBezTo>
                  <a:cubicBezTo>
                    <a:pt x="84" y="93"/>
                    <a:pt x="71" y="108"/>
                    <a:pt x="144" y="85"/>
                  </a:cubicBezTo>
                  <a:cubicBezTo>
                    <a:pt x="189" y="22"/>
                    <a:pt x="170" y="31"/>
                    <a:pt x="247" y="39"/>
                  </a:cubicBezTo>
                  <a:cubicBezTo>
                    <a:pt x="313" y="0"/>
                    <a:pt x="293" y="0"/>
                    <a:pt x="359" y="39"/>
                  </a:cubicBezTo>
                  <a:close/>
                  <a:moveTo>
                    <a:pt x="376" y="379"/>
                  </a:moveTo>
                  <a:lnTo>
                    <a:pt x="376" y="379"/>
                  </a:lnTo>
                  <a:cubicBezTo>
                    <a:pt x="376" y="443"/>
                    <a:pt x="406" y="427"/>
                    <a:pt x="412" y="419"/>
                  </a:cubicBezTo>
                  <a:cubicBezTo>
                    <a:pt x="418" y="409"/>
                    <a:pt x="429" y="332"/>
                    <a:pt x="397" y="332"/>
                  </a:cubicBezTo>
                  <a:cubicBezTo>
                    <a:pt x="378" y="332"/>
                    <a:pt x="376" y="356"/>
                    <a:pt x="376" y="379"/>
                  </a:cubicBezTo>
                  <a:close/>
                  <a:moveTo>
                    <a:pt x="186" y="222"/>
                  </a:moveTo>
                  <a:lnTo>
                    <a:pt x="186" y="222"/>
                  </a:lnTo>
                  <a:cubicBezTo>
                    <a:pt x="186" y="286"/>
                    <a:pt x="217" y="268"/>
                    <a:pt x="221" y="261"/>
                  </a:cubicBezTo>
                  <a:cubicBezTo>
                    <a:pt x="228" y="251"/>
                    <a:pt x="238" y="175"/>
                    <a:pt x="207" y="175"/>
                  </a:cubicBezTo>
                  <a:cubicBezTo>
                    <a:pt x="188" y="175"/>
                    <a:pt x="186" y="199"/>
                    <a:pt x="186" y="222"/>
                  </a:cubicBezTo>
                  <a:close/>
                  <a:moveTo>
                    <a:pt x="141" y="222"/>
                  </a:moveTo>
                  <a:lnTo>
                    <a:pt x="141" y="222"/>
                  </a:lnTo>
                  <a:cubicBezTo>
                    <a:pt x="141" y="124"/>
                    <a:pt x="229" y="132"/>
                    <a:pt x="256" y="162"/>
                  </a:cubicBezTo>
                  <a:cubicBezTo>
                    <a:pt x="282" y="190"/>
                    <a:pt x="291" y="301"/>
                    <a:pt x="208" y="301"/>
                  </a:cubicBezTo>
                  <a:cubicBezTo>
                    <a:pt x="160" y="301"/>
                    <a:pt x="141" y="269"/>
                    <a:pt x="141" y="222"/>
                  </a:cubicBezTo>
                  <a:close/>
                  <a:moveTo>
                    <a:pt x="244" y="460"/>
                  </a:moveTo>
                  <a:lnTo>
                    <a:pt x="244" y="460"/>
                  </a:lnTo>
                  <a:cubicBezTo>
                    <a:pt x="230" y="460"/>
                    <a:pt x="216" y="460"/>
                    <a:pt x="201" y="460"/>
                  </a:cubicBezTo>
                  <a:cubicBezTo>
                    <a:pt x="255" y="354"/>
                    <a:pt x="309" y="247"/>
                    <a:pt x="362" y="141"/>
                  </a:cubicBezTo>
                  <a:cubicBezTo>
                    <a:pt x="376" y="141"/>
                    <a:pt x="390" y="141"/>
                    <a:pt x="404" y="141"/>
                  </a:cubicBezTo>
                  <a:cubicBezTo>
                    <a:pt x="351" y="247"/>
                    <a:pt x="298" y="354"/>
                    <a:pt x="244" y="460"/>
                  </a:cubicBezTo>
                  <a:close/>
                  <a:moveTo>
                    <a:pt x="331" y="379"/>
                  </a:moveTo>
                  <a:lnTo>
                    <a:pt x="331" y="379"/>
                  </a:lnTo>
                  <a:cubicBezTo>
                    <a:pt x="331" y="282"/>
                    <a:pt x="419" y="289"/>
                    <a:pt x="446" y="319"/>
                  </a:cubicBezTo>
                  <a:cubicBezTo>
                    <a:pt x="473" y="348"/>
                    <a:pt x="481" y="459"/>
                    <a:pt x="398" y="459"/>
                  </a:cubicBezTo>
                  <a:cubicBezTo>
                    <a:pt x="351" y="459"/>
                    <a:pt x="331" y="427"/>
                    <a:pt x="331" y="379"/>
                  </a:cubicBezTo>
                  <a:close/>
                </a:path>
              </a:pathLst>
            </a:custGeom>
            <a:solidFill>
              <a:srgbClr val="FDFDFD"/>
            </a:solidFill>
            <a:ln>
              <a:noFill/>
            </a:ln>
          </p:spPr>
          <p:txBody>
            <a:bodyPr vert="horz" wrap="square" lIns="91440" tIns="45720" rIns="91440" bIns="45720" numCol="1" anchor="t" anchorCtr="0" compatLnSpc="1"/>
            <a:lstStyle/>
            <a:p>
              <a:endParaRPr lang="zh-CN" altLang="en-US">
                <a:solidFill>
                  <a:schemeClr val="accent2"/>
                </a:solidFill>
              </a:endParaRPr>
            </a:p>
          </p:txBody>
        </p:sp>
        <p:sp>
          <p:nvSpPr>
            <p:cNvPr id="28" name="文本框 27"/>
            <p:cNvSpPr txBox="1"/>
            <p:nvPr/>
          </p:nvSpPr>
          <p:spPr>
            <a:xfrm>
              <a:off x="2706338" y="2877792"/>
              <a:ext cx="1832553" cy="584775"/>
            </a:xfrm>
            <a:prstGeom prst="rect">
              <a:avLst/>
            </a:prstGeom>
            <a:noFill/>
          </p:spPr>
          <p:txBody>
            <a:bodyPr wrap="none" rtlCol="0">
              <a:spAutoFit/>
            </a:bodyPr>
            <a:lstStyle/>
            <a:p>
              <a:r>
                <a:rPr lang="zh-CN" altLang="en-US" sz="3200" b="1" dirty="0">
                  <a:solidFill>
                    <a:srgbClr val="FFFFFF"/>
                  </a:solidFill>
                  <a:latin typeface="等线 Light" panose="02010600030101010101" pitchFamily="2" charset="-122"/>
                  <a:ea typeface="等线 Light" panose="02010600030101010101" pitchFamily="2" charset="-122"/>
                </a:rPr>
                <a:t>您的标题</a:t>
              </a:r>
            </a:p>
          </p:txBody>
        </p:sp>
      </p:grpSp>
      <p:sp>
        <p:nvSpPr>
          <p:cNvPr id="35" name="矩形 34"/>
          <p:cNvSpPr/>
          <p:nvPr/>
        </p:nvSpPr>
        <p:spPr>
          <a:xfrm>
            <a:off x="8067184" y="2129433"/>
            <a:ext cx="341391" cy="34139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 name="矩形 35"/>
          <p:cNvSpPr/>
          <p:nvPr/>
        </p:nvSpPr>
        <p:spPr>
          <a:xfrm>
            <a:off x="8067184" y="3515129"/>
            <a:ext cx="341391" cy="341391"/>
          </a:xfrm>
          <a:prstGeom prst="rect">
            <a:avLst/>
          </a:prstGeom>
          <a:solidFill>
            <a:srgbClr val="247C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 name="矩形 36"/>
          <p:cNvSpPr/>
          <p:nvPr/>
        </p:nvSpPr>
        <p:spPr>
          <a:xfrm>
            <a:off x="8096861" y="4994403"/>
            <a:ext cx="341391" cy="34139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8" name="矩形 47"/>
          <p:cNvSpPr>
            <a:spLocks noChangeArrowheads="1"/>
          </p:cNvSpPr>
          <p:nvPr/>
        </p:nvSpPr>
        <p:spPr bwMode="auto">
          <a:xfrm>
            <a:off x="8740693" y="1913510"/>
            <a:ext cx="2684043" cy="8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buNone/>
            </a:pPr>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p:txBody>
      </p:sp>
      <p:sp>
        <p:nvSpPr>
          <p:cNvPr id="39" name="矩形 47"/>
          <p:cNvSpPr>
            <a:spLocks noChangeArrowheads="1"/>
          </p:cNvSpPr>
          <p:nvPr/>
        </p:nvSpPr>
        <p:spPr bwMode="auto">
          <a:xfrm>
            <a:off x="8740692" y="4749584"/>
            <a:ext cx="2684043" cy="8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buNone/>
            </a:pPr>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p:txBody>
      </p:sp>
      <p:sp>
        <p:nvSpPr>
          <p:cNvPr id="40" name="矩形 47"/>
          <p:cNvSpPr>
            <a:spLocks noChangeArrowheads="1"/>
          </p:cNvSpPr>
          <p:nvPr/>
        </p:nvSpPr>
        <p:spPr bwMode="auto">
          <a:xfrm>
            <a:off x="8740692" y="3284758"/>
            <a:ext cx="2684043" cy="8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buNone/>
            </a:pPr>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pPr>
              <a:buNone/>
            </a:pPr>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p:txBody>
      </p:sp>
      <p:sp>
        <p:nvSpPr>
          <p:cNvPr id="41"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42"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45" name="音频 4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841627052"/>
      </p:ext>
    </p:extLst>
  </p:cSld>
  <p:clrMapOvr>
    <a:masterClrMapping/>
  </p:clrMapOvr>
  <mc:AlternateContent xmlns:mc="http://schemas.openxmlformats.org/markup-compatibility/2006" xmlns:p14="http://schemas.microsoft.com/office/powerpoint/2010/main">
    <mc:Choice Requires="p14">
      <p:transition spd="slow" p14:dur="1200" advTm="1221">
        <p:dissolve/>
      </p:transition>
    </mc:Choice>
    <mc:Fallback xmlns="">
      <p:transition spd="slow" advTm="1221">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5"/>
                                        </p:tgtEl>
                                      </p:cBhvr>
                                    </p:cmd>
                                  </p:childTnLst>
                                </p:cTn>
                              </p:par>
                              <p:par>
                                <p:cTn id="7" presetID="42"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animEffect transition="in" filter="fade">
                                      <p:cBhvr>
                                        <p:cTn id="9" dur="1000"/>
                                        <p:tgtEl>
                                          <p:spTgt spid="13"/>
                                        </p:tgtEl>
                                      </p:cBhvr>
                                    </p:animEffect>
                                    <p:anim calcmode="lin" valueType="num">
                                      <p:cBhvr>
                                        <p:cTn id="10" dur="1000" fill="hold"/>
                                        <p:tgtEl>
                                          <p:spTgt spid="13"/>
                                        </p:tgtEl>
                                        <p:attrNameLst>
                                          <p:attrName>ppt_x</p:attrName>
                                        </p:attrNameLst>
                                      </p:cBhvr>
                                      <p:tavLst>
                                        <p:tav tm="0">
                                          <p:val>
                                            <p:strVal val="#ppt_x"/>
                                          </p:val>
                                        </p:tav>
                                        <p:tav tm="100000">
                                          <p:val>
                                            <p:strVal val="#ppt_x"/>
                                          </p:val>
                                        </p:tav>
                                      </p:tavLst>
                                    </p:anim>
                                    <p:anim calcmode="lin" valueType="num">
                                      <p:cBhvr>
                                        <p:cTn id="11" dur="1000" fill="hold"/>
                                        <p:tgtEl>
                                          <p:spTgt spid="13"/>
                                        </p:tgtEl>
                                        <p:attrNameLst>
                                          <p:attrName>ppt_y</p:attrName>
                                        </p:attrNameLst>
                                      </p:cBhvr>
                                      <p:tavLst>
                                        <p:tav tm="0">
                                          <p:val>
                                            <p:strVal val="#ppt_y+.1"/>
                                          </p:val>
                                        </p:tav>
                                        <p:tav tm="100000">
                                          <p:val>
                                            <p:strVal val="#ppt_y"/>
                                          </p:val>
                                        </p:tav>
                                      </p:tavLst>
                                    </p:anim>
                                  </p:childTnLst>
                                </p:cTn>
                              </p:par>
                              <p:par>
                                <p:cTn id="12" presetID="42" presetClass="entr" presetSubtype="0" fill="hold" nodeType="withEffect">
                                  <p:stCondLst>
                                    <p:cond delay="25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1000"/>
                                        <p:tgtEl>
                                          <p:spTgt spid="24"/>
                                        </p:tgtEl>
                                      </p:cBhvr>
                                    </p:animEffect>
                                    <p:anim calcmode="lin" valueType="num">
                                      <p:cBhvr>
                                        <p:cTn id="15" dur="1000" fill="hold"/>
                                        <p:tgtEl>
                                          <p:spTgt spid="24"/>
                                        </p:tgtEl>
                                        <p:attrNameLst>
                                          <p:attrName>ppt_x</p:attrName>
                                        </p:attrNameLst>
                                      </p:cBhvr>
                                      <p:tavLst>
                                        <p:tav tm="0">
                                          <p:val>
                                            <p:strVal val="#ppt_x"/>
                                          </p:val>
                                        </p:tav>
                                        <p:tav tm="100000">
                                          <p:val>
                                            <p:strVal val="#ppt_x"/>
                                          </p:val>
                                        </p:tav>
                                      </p:tavLst>
                                    </p:anim>
                                    <p:anim calcmode="lin" valueType="num">
                                      <p:cBhvr>
                                        <p:cTn id="16" dur="1000" fill="hold"/>
                                        <p:tgtEl>
                                          <p:spTgt spid="24"/>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50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1000"/>
                                        <p:tgtEl>
                                          <p:spTgt spid="2"/>
                                        </p:tgtEl>
                                      </p:cBhvr>
                                    </p:animEffect>
                                    <p:anim calcmode="lin" valueType="num">
                                      <p:cBhvr>
                                        <p:cTn id="20" dur="1000" fill="hold"/>
                                        <p:tgtEl>
                                          <p:spTgt spid="2"/>
                                        </p:tgtEl>
                                        <p:attrNameLst>
                                          <p:attrName>ppt_x</p:attrName>
                                        </p:attrNameLst>
                                      </p:cBhvr>
                                      <p:tavLst>
                                        <p:tav tm="0">
                                          <p:val>
                                            <p:strVal val="#ppt_x"/>
                                          </p:val>
                                        </p:tav>
                                        <p:tav tm="100000">
                                          <p:val>
                                            <p:strVal val="#ppt_x"/>
                                          </p:val>
                                        </p:tav>
                                      </p:tavLst>
                                    </p:anim>
                                    <p:anim calcmode="lin" valueType="num">
                                      <p:cBhvr>
                                        <p:cTn id="21" dur="1000" fill="hold"/>
                                        <p:tgtEl>
                                          <p:spTgt spid="2"/>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childTnLst>
                          </p:cTn>
                        </p:par>
                        <p:par>
                          <p:cTn id="32" fill="hold">
                            <p:stCondLst>
                              <p:cond delay="2500"/>
                            </p:stCondLst>
                            <p:childTnLst>
                              <p:par>
                                <p:cTn id="33" presetID="22" presetClass="entr" presetSubtype="8" fill="hold" grpId="0" nodeType="after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wipe(left)">
                                      <p:cBhvr>
                                        <p:cTn id="35" dur="500"/>
                                        <p:tgtEl>
                                          <p:spTgt spid="38"/>
                                        </p:tgtEl>
                                      </p:cBhvr>
                                    </p:animEffect>
                                  </p:childTnLst>
                                </p:cTn>
                              </p:par>
                              <p:par>
                                <p:cTn id="36" presetID="22" presetClass="entr" presetSubtype="8" fill="hold" grpId="0" nodeType="withEffect">
                                  <p:stCondLst>
                                    <p:cond delay="250"/>
                                  </p:stCondLst>
                                  <p:childTnLst>
                                    <p:set>
                                      <p:cBhvr>
                                        <p:cTn id="37" dur="1" fill="hold">
                                          <p:stCondLst>
                                            <p:cond delay="0"/>
                                          </p:stCondLst>
                                        </p:cTn>
                                        <p:tgtEl>
                                          <p:spTgt spid="40"/>
                                        </p:tgtEl>
                                        <p:attrNameLst>
                                          <p:attrName>style.visibility</p:attrName>
                                        </p:attrNameLst>
                                      </p:cBhvr>
                                      <p:to>
                                        <p:strVal val="visible"/>
                                      </p:to>
                                    </p:set>
                                    <p:animEffect transition="in" filter="wipe(left)">
                                      <p:cBhvr>
                                        <p:cTn id="38" dur="500"/>
                                        <p:tgtEl>
                                          <p:spTgt spid="40"/>
                                        </p:tgtEl>
                                      </p:cBhvr>
                                    </p:animEffect>
                                  </p:childTnLst>
                                </p:cTn>
                              </p:par>
                              <p:par>
                                <p:cTn id="39" presetID="22" presetClass="entr" presetSubtype="8" fill="hold" grpId="0" nodeType="withEffect">
                                  <p:stCondLst>
                                    <p:cond delay="500"/>
                                  </p:stCondLst>
                                  <p:childTnLst>
                                    <p:set>
                                      <p:cBhvr>
                                        <p:cTn id="40" dur="1" fill="hold">
                                          <p:stCondLst>
                                            <p:cond delay="0"/>
                                          </p:stCondLst>
                                        </p:cTn>
                                        <p:tgtEl>
                                          <p:spTgt spid="39"/>
                                        </p:tgtEl>
                                        <p:attrNameLst>
                                          <p:attrName>style.visibility</p:attrName>
                                        </p:attrNameLst>
                                      </p:cBhvr>
                                      <p:to>
                                        <p:strVal val="visible"/>
                                      </p:to>
                                    </p:set>
                                    <p:animEffect transition="in" filter="wipe(left)">
                                      <p:cBhvr>
                                        <p:cTn id="4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2" fill="hold" display="0">
                  <p:stCondLst>
                    <p:cond delay="indefinite"/>
                  </p:stCondLst>
                  <p:endCondLst>
                    <p:cond evt="onStopAudio" delay="0">
                      <p:tgtEl>
                        <p:sldTgt/>
                      </p:tgtEl>
                    </p:cond>
                  </p:endCondLst>
                </p:cTn>
                <p:tgtEl>
                  <p:spTgt spid="45"/>
                </p:tgtEl>
              </p:cMediaNode>
            </p:audio>
          </p:childTnLst>
        </p:cTn>
      </p:par>
    </p:tnLst>
    <p:bldLst>
      <p:bldP spid="35" grpId="0" bldLvl="0" animBg="1"/>
      <p:bldP spid="36" grpId="0" bldLvl="0" animBg="1"/>
      <p:bldP spid="37" grpId="0" bldLvl="0" animBg="1"/>
      <p:bldP spid="38" grpId="0"/>
      <p:bldP spid="39" grpId="0"/>
      <p:bldP spid="40"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100000">
              <a:schemeClr val="tx1"/>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20" name="圆角矩形标注 39"/>
          <p:cNvSpPr/>
          <p:nvPr/>
        </p:nvSpPr>
        <p:spPr>
          <a:xfrm>
            <a:off x="3944907" y="3790335"/>
            <a:ext cx="2054146" cy="674587"/>
          </a:xfrm>
          <a:prstGeom prst="wedgeRoundRectCallout">
            <a:avLst>
              <a:gd name="adj1" fmla="val -20833"/>
              <a:gd name="adj2" fmla="val 101383"/>
              <a:gd name="adj3" fmla="val 16667"/>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3" tIns="50402" rIns="100803" bIns="50402" anchor="ctr"/>
          <a:lstStyle/>
          <a:p>
            <a:pPr algn="ctr">
              <a:defRPr/>
            </a:pPr>
            <a:r>
              <a:rPr lang="zh-CN" altLang="en-US" dirty="0">
                <a:latin typeface="等线 Light" panose="02010600030101010101" pitchFamily="2" charset="-122"/>
                <a:ea typeface="等线 Light" panose="02010600030101010101" pitchFamily="2" charset="-122"/>
              </a:rPr>
              <a:t>添加文本</a:t>
            </a:r>
          </a:p>
        </p:txBody>
      </p:sp>
      <p:sp>
        <p:nvSpPr>
          <p:cNvPr id="21" name="圆角矩形标注 40"/>
          <p:cNvSpPr/>
          <p:nvPr/>
        </p:nvSpPr>
        <p:spPr>
          <a:xfrm>
            <a:off x="7724744" y="3790335"/>
            <a:ext cx="2056171" cy="674587"/>
          </a:xfrm>
          <a:prstGeom prst="wedgeRoundRectCallout">
            <a:avLst>
              <a:gd name="adj1" fmla="val -20833"/>
              <a:gd name="adj2" fmla="val 101383"/>
              <a:gd name="adj3" fmla="val 16667"/>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3" tIns="50402" rIns="100803" bIns="50402" anchor="ctr"/>
          <a:lstStyle/>
          <a:p>
            <a:pPr algn="ctr">
              <a:defRPr/>
            </a:pPr>
            <a:r>
              <a:rPr lang="zh-CN" altLang="en-US" dirty="0">
                <a:latin typeface="等线 Light" panose="02010600030101010101" pitchFamily="2" charset="-122"/>
                <a:ea typeface="等线 Light" panose="02010600030101010101" pitchFamily="2" charset="-122"/>
              </a:rPr>
              <a:t>添加文本</a:t>
            </a:r>
          </a:p>
        </p:txBody>
      </p:sp>
      <p:sp>
        <p:nvSpPr>
          <p:cNvPr id="22" name="任意多边形 41"/>
          <p:cNvSpPr/>
          <p:nvPr/>
        </p:nvSpPr>
        <p:spPr>
          <a:xfrm>
            <a:off x="2055782" y="3443926"/>
            <a:ext cx="2054147" cy="1020996"/>
          </a:xfrm>
          <a:custGeom>
            <a:avLst/>
            <a:gdLst>
              <a:gd name="connsiteX0" fmla="*/ 425985 w 1460502"/>
              <a:gd name="connsiteY0" fmla="*/ 0 h 725082"/>
              <a:gd name="connsiteX1" fmla="*/ 608543 w 1460502"/>
              <a:gd name="connsiteY1" fmla="*/ 246110 h 725082"/>
              <a:gd name="connsiteX2" fmla="*/ 1380672 w 1460502"/>
              <a:gd name="connsiteY2" fmla="*/ 246110 h 725082"/>
              <a:gd name="connsiteX3" fmla="*/ 1460502 w 1460502"/>
              <a:gd name="connsiteY3" fmla="*/ 325940 h 725082"/>
              <a:gd name="connsiteX4" fmla="*/ 1460502 w 1460502"/>
              <a:gd name="connsiteY4" fmla="*/ 445682 h 725082"/>
              <a:gd name="connsiteX5" fmla="*/ 1460502 w 1460502"/>
              <a:gd name="connsiteY5" fmla="*/ 645252 h 725082"/>
              <a:gd name="connsiteX6" fmla="*/ 1380672 w 1460502"/>
              <a:gd name="connsiteY6" fmla="*/ 725082 h 725082"/>
              <a:gd name="connsiteX7" fmla="*/ 608543 w 1460502"/>
              <a:gd name="connsiteY7" fmla="*/ 725082 h 725082"/>
              <a:gd name="connsiteX8" fmla="*/ 243417 w 1460502"/>
              <a:gd name="connsiteY8" fmla="*/ 725082 h 725082"/>
              <a:gd name="connsiteX9" fmla="*/ 79830 w 1460502"/>
              <a:gd name="connsiteY9" fmla="*/ 725082 h 725082"/>
              <a:gd name="connsiteX10" fmla="*/ 0 w 1460502"/>
              <a:gd name="connsiteY10" fmla="*/ 645252 h 725082"/>
              <a:gd name="connsiteX11" fmla="*/ 0 w 1460502"/>
              <a:gd name="connsiteY11" fmla="*/ 445682 h 725082"/>
              <a:gd name="connsiteX12" fmla="*/ 0 w 1460502"/>
              <a:gd name="connsiteY12" fmla="*/ 325940 h 725082"/>
              <a:gd name="connsiteX13" fmla="*/ 79830 w 1460502"/>
              <a:gd name="connsiteY13" fmla="*/ 246110 h 725082"/>
              <a:gd name="connsiteX14" fmla="*/ 243417 w 1460502"/>
              <a:gd name="connsiteY14" fmla="*/ 246110 h 72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0502" h="725082">
                <a:moveTo>
                  <a:pt x="425985" y="0"/>
                </a:moveTo>
                <a:lnTo>
                  <a:pt x="608543" y="246110"/>
                </a:lnTo>
                <a:lnTo>
                  <a:pt x="1380672" y="246110"/>
                </a:lnTo>
                <a:cubicBezTo>
                  <a:pt x="1424761" y="246110"/>
                  <a:pt x="1460502" y="281851"/>
                  <a:pt x="1460502" y="325940"/>
                </a:cubicBezTo>
                <a:lnTo>
                  <a:pt x="1460502" y="445682"/>
                </a:lnTo>
                <a:lnTo>
                  <a:pt x="1460502" y="645252"/>
                </a:lnTo>
                <a:cubicBezTo>
                  <a:pt x="1460502" y="689341"/>
                  <a:pt x="1424761" y="725082"/>
                  <a:pt x="1380672" y="725082"/>
                </a:cubicBezTo>
                <a:lnTo>
                  <a:pt x="608543" y="725082"/>
                </a:lnTo>
                <a:lnTo>
                  <a:pt x="243417" y="725082"/>
                </a:lnTo>
                <a:lnTo>
                  <a:pt x="79830" y="725082"/>
                </a:lnTo>
                <a:cubicBezTo>
                  <a:pt x="35741" y="725082"/>
                  <a:pt x="0" y="689341"/>
                  <a:pt x="0" y="645252"/>
                </a:cubicBezTo>
                <a:lnTo>
                  <a:pt x="0" y="445682"/>
                </a:lnTo>
                <a:lnTo>
                  <a:pt x="0" y="325940"/>
                </a:lnTo>
                <a:cubicBezTo>
                  <a:pt x="0" y="281851"/>
                  <a:pt x="35741" y="246110"/>
                  <a:pt x="79830" y="246110"/>
                </a:cubicBezTo>
                <a:lnTo>
                  <a:pt x="243417" y="24611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3" tIns="317491" rIns="100803" bIns="50402" anchor="ctr"/>
          <a:lstStyle/>
          <a:p>
            <a:pPr algn="ctr">
              <a:defRPr/>
            </a:pPr>
            <a:r>
              <a:rPr lang="zh-CN" altLang="en-US" dirty="0">
                <a:latin typeface="等线 Light" panose="02010600030101010101" pitchFamily="2" charset="-122"/>
                <a:ea typeface="等线 Light" panose="02010600030101010101" pitchFamily="2" charset="-122"/>
              </a:rPr>
              <a:t>添加文本</a:t>
            </a:r>
          </a:p>
        </p:txBody>
      </p:sp>
      <p:sp>
        <p:nvSpPr>
          <p:cNvPr id="23" name="任意多边形 42"/>
          <p:cNvSpPr/>
          <p:nvPr/>
        </p:nvSpPr>
        <p:spPr>
          <a:xfrm>
            <a:off x="5835620" y="3443926"/>
            <a:ext cx="2054147" cy="1020996"/>
          </a:xfrm>
          <a:custGeom>
            <a:avLst/>
            <a:gdLst>
              <a:gd name="connsiteX0" fmla="*/ 425985 w 1460502"/>
              <a:gd name="connsiteY0" fmla="*/ 0 h 725082"/>
              <a:gd name="connsiteX1" fmla="*/ 608543 w 1460502"/>
              <a:gd name="connsiteY1" fmla="*/ 246110 h 725082"/>
              <a:gd name="connsiteX2" fmla="*/ 1380672 w 1460502"/>
              <a:gd name="connsiteY2" fmla="*/ 246110 h 725082"/>
              <a:gd name="connsiteX3" fmla="*/ 1460502 w 1460502"/>
              <a:gd name="connsiteY3" fmla="*/ 325940 h 725082"/>
              <a:gd name="connsiteX4" fmla="*/ 1460502 w 1460502"/>
              <a:gd name="connsiteY4" fmla="*/ 445682 h 725082"/>
              <a:gd name="connsiteX5" fmla="*/ 1460502 w 1460502"/>
              <a:gd name="connsiteY5" fmla="*/ 645252 h 725082"/>
              <a:gd name="connsiteX6" fmla="*/ 1380672 w 1460502"/>
              <a:gd name="connsiteY6" fmla="*/ 725082 h 725082"/>
              <a:gd name="connsiteX7" fmla="*/ 608543 w 1460502"/>
              <a:gd name="connsiteY7" fmla="*/ 725082 h 725082"/>
              <a:gd name="connsiteX8" fmla="*/ 243417 w 1460502"/>
              <a:gd name="connsiteY8" fmla="*/ 725082 h 725082"/>
              <a:gd name="connsiteX9" fmla="*/ 79830 w 1460502"/>
              <a:gd name="connsiteY9" fmla="*/ 725082 h 725082"/>
              <a:gd name="connsiteX10" fmla="*/ 0 w 1460502"/>
              <a:gd name="connsiteY10" fmla="*/ 645252 h 725082"/>
              <a:gd name="connsiteX11" fmla="*/ 0 w 1460502"/>
              <a:gd name="connsiteY11" fmla="*/ 445682 h 725082"/>
              <a:gd name="connsiteX12" fmla="*/ 0 w 1460502"/>
              <a:gd name="connsiteY12" fmla="*/ 325940 h 725082"/>
              <a:gd name="connsiteX13" fmla="*/ 79830 w 1460502"/>
              <a:gd name="connsiteY13" fmla="*/ 246110 h 725082"/>
              <a:gd name="connsiteX14" fmla="*/ 243417 w 1460502"/>
              <a:gd name="connsiteY14" fmla="*/ 246110 h 72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0502" h="725082">
                <a:moveTo>
                  <a:pt x="425985" y="0"/>
                </a:moveTo>
                <a:lnTo>
                  <a:pt x="608543" y="246110"/>
                </a:lnTo>
                <a:lnTo>
                  <a:pt x="1380672" y="246110"/>
                </a:lnTo>
                <a:cubicBezTo>
                  <a:pt x="1424761" y="246110"/>
                  <a:pt x="1460502" y="281851"/>
                  <a:pt x="1460502" y="325940"/>
                </a:cubicBezTo>
                <a:lnTo>
                  <a:pt x="1460502" y="445682"/>
                </a:lnTo>
                <a:lnTo>
                  <a:pt x="1460502" y="645252"/>
                </a:lnTo>
                <a:cubicBezTo>
                  <a:pt x="1460502" y="689341"/>
                  <a:pt x="1424761" y="725082"/>
                  <a:pt x="1380672" y="725082"/>
                </a:cubicBezTo>
                <a:lnTo>
                  <a:pt x="608543" y="725082"/>
                </a:lnTo>
                <a:lnTo>
                  <a:pt x="243417" y="725082"/>
                </a:lnTo>
                <a:lnTo>
                  <a:pt x="79830" y="725082"/>
                </a:lnTo>
                <a:cubicBezTo>
                  <a:pt x="35741" y="725082"/>
                  <a:pt x="0" y="689341"/>
                  <a:pt x="0" y="645252"/>
                </a:cubicBezTo>
                <a:lnTo>
                  <a:pt x="0" y="445682"/>
                </a:lnTo>
                <a:lnTo>
                  <a:pt x="0" y="325940"/>
                </a:lnTo>
                <a:cubicBezTo>
                  <a:pt x="0" y="281851"/>
                  <a:pt x="35741" y="246110"/>
                  <a:pt x="79830" y="246110"/>
                </a:cubicBezTo>
                <a:lnTo>
                  <a:pt x="243417" y="24611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803" tIns="317491" rIns="100803" bIns="50402" anchor="ctr"/>
          <a:lstStyle/>
          <a:p>
            <a:pPr algn="ctr">
              <a:defRPr/>
            </a:pPr>
            <a:r>
              <a:rPr lang="zh-CN" altLang="en-US" dirty="0">
                <a:latin typeface="等线 Light" panose="02010600030101010101" pitchFamily="2" charset="-122"/>
                <a:ea typeface="等线 Light" panose="02010600030101010101" pitchFamily="2" charset="-122"/>
              </a:rPr>
              <a:t>添加文本</a:t>
            </a:r>
          </a:p>
        </p:txBody>
      </p:sp>
      <p:sp>
        <p:nvSpPr>
          <p:cNvPr id="24" name="矩形 23"/>
          <p:cNvSpPr/>
          <p:nvPr/>
        </p:nvSpPr>
        <p:spPr>
          <a:xfrm>
            <a:off x="2055782" y="2342737"/>
            <a:ext cx="2746963" cy="1097975"/>
          </a:xfrm>
          <a:prstGeom prst="rect">
            <a:avLst/>
          </a:prstGeom>
        </p:spPr>
        <p:txBody>
          <a:bodyPr lIns="51592" tIns="51592" rIns="51592" bIns="51592" anchor="ctr"/>
          <a:lstStyle/>
          <a:p>
            <a:pPr algn="just">
              <a:lnSpc>
                <a:spcPct val="120000"/>
              </a:lnSpc>
              <a:spcBef>
                <a:spcPts val="661"/>
              </a:spcBef>
              <a:spcAft>
                <a:spcPts val="661"/>
              </a:spcAft>
              <a:defRPr/>
            </a:pPr>
            <a:r>
              <a:rPr lang="zh-CN" altLang="en-US" sz="1200" dirty="0">
                <a:solidFill>
                  <a:schemeClr val="bg1"/>
                </a:solidFill>
                <a:latin typeface="等线 Light" panose="02010600030101010101" pitchFamily="2" charset="-122"/>
                <a:ea typeface="等线 Light" panose="02010600030101010101" pitchFamily="2" charset="-122"/>
              </a:rPr>
              <a:t>添加对的说明文字添加对的说明文字添加对的说明文字添加对的说明文字添加文字</a:t>
            </a:r>
          </a:p>
        </p:txBody>
      </p:sp>
      <p:sp>
        <p:nvSpPr>
          <p:cNvPr id="25" name="矩形 24"/>
          <p:cNvSpPr/>
          <p:nvPr/>
        </p:nvSpPr>
        <p:spPr>
          <a:xfrm>
            <a:off x="3497126" y="4521995"/>
            <a:ext cx="2611237" cy="1758381"/>
          </a:xfrm>
          <a:prstGeom prst="rect">
            <a:avLst/>
          </a:prstGeom>
        </p:spPr>
        <p:txBody>
          <a:bodyPr lIns="51592" tIns="51592" rIns="51592" bIns="51592" anchor="ctr"/>
          <a:lstStyle/>
          <a:p>
            <a:pPr algn="just">
              <a:lnSpc>
                <a:spcPct val="120000"/>
              </a:lnSpc>
              <a:spcBef>
                <a:spcPts val="661"/>
              </a:spcBef>
              <a:spcAft>
                <a:spcPts val="661"/>
              </a:spcAft>
              <a:defRPr/>
            </a:pPr>
            <a:r>
              <a:rPr lang="zh-CN" altLang="en-US" sz="1200" dirty="0">
                <a:solidFill>
                  <a:schemeClr val="bg1"/>
                </a:solidFill>
                <a:latin typeface="等线 Light" panose="02010600030101010101" pitchFamily="2" charset="-122"/>
                <a:ea typeface="等线 Light" panose="02010600030101010101" pitchFamily="2" charset="-122"/>
              </a:rPr>
              <a:t>添加对的说明文字添加对的说明文字添加对的说明文字添加对的说明文字添加文字</a:t>
            </a:r>
          </a:p>
        </p:txBody>
      </p:sp>
      <p:sp>
        <p:nvSpPr>
          <p:cNvPr id="26" name="矩形 25"/>
          <p:cNvSpPr/>
          <p:nvPr/>
        </p:nvSpPr>
        <p:spPr>
          <a:xfrm>
            <a:off x="5835620" y="2342737"/>
            <a:ext cx="2609210" cy="1097975"/>
          </a:xfrm>
          <a:prstGeom prst="rect">
            <a:avLst/>
          </a:prstGeom>
        </p:spPr>
        <p:txBody>
          <a:bodyPr lIns="51592" tIns="51592" rIns="51592" bIns="51592" anchor="ctr"/>
          <a:lstStyle/>
          <a:p>
            <a:pPr algn="just">
              <a:lnSpc>
                <a:spcPct val="120000"/>
              </a:lnSpc>
              <a:spcBef>
                <a:spcPts val="661"/>
              </a:spcBef>
              <a:spcAft>
                <a:spcPts val="661"/>
              </a:spcAft>
              <a:defRPr/>
            </a:pPr>
            <a:r>
              <a:rPr lang="zh-CN" altLang="en-US" sz="1200" dirty="0">
                <a:solidFill>
                  <a:schemeClr val="bg1"/>
                </a:solidFill>
                <a:latin typeface="等线 Light" panose="02010600030101010101" pitchFamily="2" charset="-122"/>
                <a:ea typeface="等线 Light" panose="02010600030101010101" pitchFamily="2" charset="-122"/>
              </a:rPr>
              <a:t>添加对的说明文字添加对的说明文字添加对的说明文字添加对的说明文字添加文字</a:t>
            </a:r>
          </a:p>
        </p:txBody>
      </p:sp>
      <p:sp>
        <p:nvSpPr>
          <p:cNvPr id="37" name="矩形 36"/>
          <p:cNvSpPr/>
          <p:nvPr/>
        </p:nvSpPr>
        <p:spPr>
          <a:xfrm>
            <a:off x="7724744" y="4521995"/>
            <a:ext cx="2611236" cy="1758381"/>
          </a:xfrm>
          <a:prstGeom prst="rect">
            <a:avLst/>
          </a:prstGeom>
        </p:spPr>
        <p:txBody>
          <a:bodyPr lIns="51592" tIns="51592" rIns="51592" bIns="51592" anchor="ctr"/>
          <a:lstStyle/>
          <a:p>
            <a:pPr algn="just">
              <a:lnSpc>
                <a:spcPct val="120000"/>
              </a:lnSpc>
              <a:spcBef>
                <a:spcPts val="661"/>
              </a:spcBef>
              <a:spcAft>
                <a:spcPts val="661"/>
              </a:spcAft>
              <a:defRPr/>
            </a:pPr>
            <a:r>
              <a:rPr lang="zh-CN" altLang="en-US" sz="1200" dirty="0">
                <a:solidFill>
                  <a:schemeClr val="bg1"/>
                </a:solidFill>
                <a:latin typeface="等线 Light" panose="02010600030101010101" pitchFamily="2" charset="-122"/>
                <a:ea typeface="等线 Light" panose="02010600030101010101" pitchFamily="2" charset="-122"/>
              </a:rPr>
              <a:t>添加对的说明文字添加对的说明文字添加对的说明文字添加对的说明文字添加文字</a:t>
            </a:r>
          </a:p>
        </p:txBody>
      </p:sp>
      <p:sp>
        <p:nvSpPr>
          <p:cNvPr id="14"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15"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6"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3508061208"/>
      </p:ext>
    </p:extLst>
  </p:cSld>
  <p:clrMapOvr>
    <a:masterClrMapping/>
  </p:clrMapOvr>
  <mc:AlternateContent xmlns:mc="http://schemas.openxmlformats.org/markup-compatibility/2006" xmlns:p14="http://schemas.microsoft.com/office/powerpoint/2010/main">
    <mc:Choice Requires="p14">
      <p:transition spd="slow" p14:dur="1200" advTm="1278">
        <p:dissolve/>
      </p:transition>
    </mc:Choice>
    <mc:Fallback xmlns="">
      <p:transition spd="slow" advTm="1278">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par>
                          <p:cTn id="7" fill="hold">
                            <p:stCondLst>
                              <p:cond delay="0"/>
                            </p:stCondLst>
                            <p:childTnLst>
                              <p:par>
                                <p:cTn id="8" presetID="2" presetClass="entr" presetSubtype="4" fill="hold" grpId="0" nodeType="afterEffect">
                                  <p:stCondLst>
                                    <p:cond delay="0"/>
                                  </p:stCondLst>
                                  <p:childTnLst>
                                    <p:set>
                                      <p:cBhvr>
                                        <p:cTn id="9" dur="1" fill="hold">
                                          <p:stCondLst>
                                            <p:cond delay="0"/>
                                          </p:stCondLst>
                                        </p:cTn>
                                        <p:tgtEl>
                                          <p:spTgt spid="22"/>
                                        </p:tgtEl>
                                        <p:attrNameLst>
                                          <p:attrName>style.visibility</p:attrName>
                                        </p:attrNameLst>
                                      </p:cBhvr>
                                      <p:to>
                                        <p:strVal val="visible"/>
                                      </p:to>
                                    </p:set>
                                    <p:anim calcmode="lin" valueType="num">
                                      <p:cBhvr additive="base">
                                        <p:cTn id="10" dur="500" fill="hold"/>
                                        <p:tgtEl>
                                          <p:spTgt spid="22"/>
                                        </p:tgtEl>
                                        <p:attrNameLst>
                                          <p:attrName>ppt_x</p:attrName>
                                        </p:attrNameLst>
                                      </p:cBhvr>
                                      <p:tavLst>
                                        <p:tav tm="0">
                                          <p:val>
                                            <p:strVal val="#ppt_x"/>
                                          </p:val>
                                        </p:tav>
                                        <p:tav tm="100000">
                                          <p:val>
                                            <p:strVal val="#ppt_x"/>
                                          </p:val>
                                        </p:tav>
                                      </p:tavLst>
                                    </p:anim>
                                    <p:anim calcmode="lin" valueType="num">
                                      <p:cBhvr additive="base">
                                        <p:cTn id="11" dur="500" fill="hold"/>
                                        <p:tgtEl>
                                          <p:spTgt spid="22"/>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down)">
                                      <p:cBhvr>
                                        <p:cTn id="15" dur="500"/>
                                        <p:tgtEl>
                                          <p:spTgt spid="24"/>
                                        </p:tgtEl>
                                      </p:cBhvr>
                                    </p:animEffect>
                                  </p:childTnLst>
                                </p:cTn>
                              </p:par>
                            </p:childTnLst>
                          </p:cTn>
                        </p:par>
                        <p:par>
                          <p:cTn id="16" fill="hold">
                            <p:stCondLst>
                              <p:cond delay="1000"/>
                            </p:stCondLst>
                            <p:childTnLst>
                              <p:par>
                                <p:cTn id="17" presetID="2" presetClass="entr" presetSubtype="1"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ppt_x"/>
                                          </p:val>
                                        </p:tav>
                                        <p:tav tm="100000">
                                          <p:val>
                                            <p:strVal val="#ppt_x"/>
                                          </p:val>
                                        </p:tav>
                                      </p:tavLst>
                                    </p:anim>
                                    <p:anim calcmode="lin" valueType="num">
                                      <p:cBhvr additive="base">
                                        <p:cTn id="20" dur="500" fill="hold"/>
                                        <p:tgtEl>
                                          <p:spTgt spid="20"/>
                                        </p:tgtEl>
                                        <p:attrNameLst>
                                          <p:attrName>ppt_y</p:attrName>
                                        </p:attrNameLst>
                                      </p:cBhvr>
                                      <p:tavLst>
                                        <p:tav tm="0">
                                          <p:val>
                                            <p:strVal val="0-#ppt_h/2"/>
                                          </p:val>
                                        </p:tav>
                                        <p:tav tm="100000">
                                          <p:val>
                                            <p:strVal val="#ppt_y"/>
                                          </p:val>
                                        </p:tav>
                                      </p:tavLst>
                                    </p:anim>
                                  </p:childTnLst>
                                </p:cTn>
                              </p:par>
                            </p:childTnLst>
                          </p:cTn>
                        </p:par>
                        <p:par>
                          <p:cTn id="21" fill="hold">
                            <p:stCondLst>
                              <p:cond delay="1500"/>
                            </p:stCondLst>
                            <p:childTnLst>
                              <p:par>
                                <p:cTn id="22" presetID="22" presetClass="entr" presetSubtype="1" fill="hold" grpId="0" nodeType="after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wipe(up)">
                                      <p:cBhvr>
                                        <p:cTn id="24" dur="500"/>
                                        <p:tgtEl>
                                          <p:spTgt spid="25"/>
                                        </p:tgtEl>
                                      </p:cBhvr>
                                    </p:animEffect>
                                  </p:childTnLst>
                                </p:cTn>
                              </p:par>
                            </p:childTnLst>
                          </p:cTn>
                        </p:par>
                        <p:par>
                          <p:cTn id="25" fill="hold">
                            <p:stCondLst>
                              <p:cond delay="2000"/>
                            </p:stCondLst>
                            <p:childTnLst>
                              <p:par>
                                <p:cTn id="26" presetID="2" presetClass="entr" presetSubtype="4"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 calcmode="lin" valueType="num">
                                      <p:cBhvr additive="base">
                                        <p:cTn id="28" dur="500" fill="hold"/>
                                        <p:tgtEl>
                                          <p:spTgt spid="23"/>
                                        </p:tgtEl>
                                        <p:attrNameLst>
                                          <p:attrName>ppt_x</p:attrName>
                                        </p:attrNameLst>
                                      </p:cBhvr>
                                      <p:tavLst>
                                        <p:tav tm="0">
                                          <p:val>
                                            <p:strVal val="#ppt_x"/>
                                          </p:val>
                                        </p:tav>
                                        <p:tav tm="100000">
                                          <p:val>
                                            <p:strVal val="#ppt_x"/>
                                          </p:val>
                                        </p:tav>
                                      </p:tavLst>
                                    </p:anim>
                                    <p:anim calcmode="lin" valueType="num">
                                      <p:cBhvr additive="base">
                                        <p:cTn id="29" dur="500" fill="hold"/>
                                        <p:tgtEl>
                                          <p:spTgt spid="23"/>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2" presetClass="entr" presetSubtype="4"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wipe(down)">
                                      <p:cBhvr>
                                        <p:cTn id="33" dur="500"/>
                                        <p:tgtEl>
                                          <p:spTgt spid="26"/>
                                        </p:tgtEl>
                                      </p:cBhvr>
                                    </p:animEffect>
                                  </p:childTnLst>
                                </p:cTn>
                              </p:par>
                            </p:childTnLst>
                          </p:cTn>
                        </p:par>
                        <p:par>
                          <p:cTn id="34" fill="hold">
                            <p:stCondLst>
                              <p:cond delay="3000"/>
                            </p:stCondLst>
                            <p:childTnLst>
                              <p:par>
                                <p:cTn id="35" presetID="2" presetClass="entr" presetSubtype="1" fill="hold" grpId="0" nodeType="after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500" fill="hold"/>
                                        <p:tgtEl>
                                          <p:spTgt spid="21"/>
                                        </p:tgtEl>
                                        <p:attrNameLst>
                                          <p:attrName>ppt_x</p:attrName>
                                        </p:attrNameLst>
                                      </p:cBhvr>
                                      <p:tavLst>
                                        <p:tav tm="0">
                                          <p:val>
                                            <p:strVal val="#ppt_x"/>
                                          </p:val>
                                        </p:tav>
                                        <p:tav tm="100000">
                                          <p:val>
                                            <p:strVal val="#ppt_x"/>
                                          </p:val>
                                        </p:tav>
                                      </p:tavLst>
                                    </p:anim>
                                    <p:anim calcmode="lin" valueType="num">
                                      <p:cBhvr additive="base">
                                        <p:cTn id="38" dur="500" fill="hold"/>
                                        <p:tgtEl>
                                          <p:spTgt spid="21"/>
                                        </p:tgtEl>
                                        <p:attrNameLst>
                                          <p:attrName>ppt_y</p:attrName>
                                        </p:attrNameLst>
                                      </p:cBhvr>
                                      <p:tavLst>
                                        <p:tav tm="0">
                                          <p:val>
                                            <p:strVal val="0-#ppt_h/2"/>
                                          </p:val>
                                        </p:tav>
                                        <p:tav tm="100000">
                                          <p:val>
                                            <p:strVal val="#ppt_y"/>
                                          </p:val>
                                        </p:tav>
                                      </p:tavLst>
                                    </p:anim>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ipe(up)">
                                      <p:cBhvr>
                                        <p:cTn id="4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3" fill="hold" display="0">
                  <p:stCondLst>
                    <p:cond delay="indefinite"/>
                  </p:stCondLst>
                  <p:endCondLst>
                    <p:cond evt="onStopAudio" delay="0">
                      <p:tgtEl>
                        <p:sldTgt/>
                      </p:tgtEl>
                    </p:cond>
                  </p:endCondLst>
                </p:cTn>
                <p:tgtEl>
                  <p:spTgt spid="3"/>
                </p:tgtEl>
              </p:cMediaNode>
            </p:audio>
          </p:childTnLst>
        </p:cTn>
      </p:par>
    </p:tnLst>
    <p:bldLst>
      <p:bldP spid="20" grpId="0" animBg="1"/>
      <p:bldP spid="21" grpId="0" animBg="1"/>
      <p:bldP spid="22" grpId="0" animBg="1"/>
      <p:bldP spid="23" grpId="0" animBg="1"/>
      <p:bldP spid="24" grpId="0"/>
      <p:bldP spid="25" grpId="0"/>
      <p:bldP spid="26" grpId="0"/>
      <p:bldP spid="37"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箭头3"/>
          <p:cNvSpPr>
            <a:spLocks/>
          </p:cNvSpPr>
          <p:nvPr/>
        </p:nvSpPr>
        <p:spPr bwMode="gray">
          <a:xfrm flipV="1">
            <a:off x="2240130" y="3768058"/>
            <a:ext cx="1131907" cy="1567715"/>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accent1">
              <a:lumMod val="75000"/>
            </a:schemeClr>
          </a:solidFill>
          <a:ln>
            <a:noFill/>
          </a:ln>
          <a:effectLst/>
          <a:extLst/>
        </p:spPr>
        <p:txBody>
          <a:bodyPr wrap="none" lIns="61044" tIns="30521" rIns="61044" bIns="3052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900">
              <a:solidFill>
                <a:sysClr val="windowText" lastClr="000000"/>
              </a:solidFill>
              <a:latin typeface="微软雅黑" panose="020B0503020204020204" pitchFamily="34" charset="-122"/>
              <a:ea typeface="微软雅黑" panose="020B0503020204020204" pitchFamily="34" charset="-122"/>
            </a:endParaRPr>
          </a:p>
        </p:txBody>
      </p:sp>
      <p:sp>
        <p:nvSpPr>
          <p:cNvPr id="3" name="箭头2"/>
          <p:cNvSpPr>
            <a:spLocks/>
          </p:cNvSpPr>
          <p:nvPr/>
        </p:nvSpPr>
        <p:spPr bwMode="gray">
          <a:xfrm rot="16200000">
            <a:off x="2586621" y="3262795"/>
            <a:ext cx="334905" cy="1345430"/>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chemeClr val="accent1">
              <a:lumMod val="75000"/>
            </a:schemeClr>
          </a:solidFill>
          <a:ln>
            <a:noFill/>
          </a:ln>
          <a:effectLst/>
          <a:extLst/>
        </p:spPr>
        <p:txBody>
          <a:bodyPr wrap="none" lIns="61044" tIns="30521" rIns="61044" bIns="3052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900">
              <a:solidFill>
                <a:sysClr val="windowText" lastClr="000000"/>
              </a:solidFill>
              <a:latin typeface="微软雅黑" panose="020B0503020204020204" pitchFamily="34" charset="-122"/>
              <a:ea typeface="微软雅黑" panose="020B0503020204020204" pitchFamily="34" charset="-122"/>
            </a:endParaRPr>
          </a:p>
        </p:txBody>
      </p:sp>
      <p:sp>
        <p:nvSpPr>
          <p:cNvPr id="4" name="箭头1"/>
          <p:cNvSpPr>
            <a:spLocks/>
          </p:cNvSpPr>
          <p:nvPr/>
        </p:nvSpPr>
        <p:spPr bwMode="gray">
          <a:xfrm>
            <a:off x="2234942" y="2475854"/>
            <a:ext cx="1131907" cy="1816042"/>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accent1">
              <a:lumMod val="75000"/>
            </a:schemeClr>
          </a:solidFill>
          <a:ln>
            <a:noFill/>
          </a:ln>
          <a:effectLst/>
          <a:extLst/>
        </p:spPr>
        <p:txBody>
          <a:bodyPr wrap="none" lIns="61044" tIns="30521" rIns="61044" bIns="3052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900">
              <a:solidFill>
                <a:sysClr val="windowText" lastClr="000000"/>
              </a:solidFill>
              <a:latin typeface="微软雅黑" panose="020B0503020204020204" pitchFamily="34" charset="-122"/>
              <a:ea typeface="微软雅黑" panose="020B0503020204020204" pitchFamily="34" charset="-122"/>
            </a:endParaRPr>
          </a:p>
        </p:txBody>
      </p:sp>
      <p:sp>
        <p:nvSpPr>
          <p:cNvPr id="5" name="文本1"/>
          <p:cNvSpPr>
            <a:spLocks noChangeArrowheads="1"/>
          </p:cNvSpPr>
          <p:nvPr/>
        </p:nvSpPr>
        <p:spPr bwMode="gray">
          <a:xfrm>
            <a:off x="5088483" y="1893119"/>
            <a:ext cx="6321324" cy="1232961"/>
          </a:xfrm>
          <a:prstGeom prst="roundRect">
            <a:avLst>
              <a:gd name="adj" fmla="val 11505"/>
            </a:avLst>
          </a:prstGeom>
          <a:noFill/>
          <a:ln w="15875" cap="flat" cmpd="sng" algn="ctr">
            <a:solidFill>
              <a:schemeClr val="accent1">
                <a:lumMod val="50000"/>
              </a:schemeClr>
            </a:solidFill>
            <a:prstDash val="solid"/>
          </a:ln>
          <a:effectLst/>
          <a:extLst/>
        </p:spPr>
        <p:txBody>
          <a:bodyPr lIns="61044" tIns="30521" rIns="61044" bIns="3052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bg1"/>
                </a:solidFill>
                <a:latin typeface="等线 Light" panose="02010600030101010101" pitchFamily="2" charset="-122"/>
                <a:ea typeface="等线 Light" panose="02010600030101010101" pitchFamily="2" charset="-122"/>
              </a:rPr>
              <a:t>您的内容打在这里，或者通过复制您的文本后，在此框中选择</a:t>
            </a:r>
            <a:endParaRPr lang="en-US" altLang="zh-CN" sz="1600" dirty="0">
              <a:solidFill>
                <a:schemeClr val="bg1"/>
              </a:solidFill>
              <a:latin typeface="等线 Light" panose="02010600030101010101" pitchFamily="2" charset="-122"/>
              <a:ea typeface="等线 Light" panose="02010600030101010101" pitchFamily="2" charset="-122"/>
            </a:endParaRPr>
          </a:p>
          <a:p>
            <a:pPr fontAlgn="base">
              <a:lnSpc>
                <a:spcPct val="120000"/>
              </a:lnSpc>
              <a:spcBef>
                <a:spcPct val="0"/>
              </a:spcBef>
              <a:spcAft>
                <a:spcPct val="0"/>
              </a:spcAft>
              <a:defRPr/>
            </a:pPr>
            <a:r>
              <a:rPr lang="zh-CN" altLang="en-US" sz="1600" dirty="0">
                <a:solidFill>
                  <a:schemeClr val="bg1"/>
                </a:solidFill>
                <a:latin typeface="等线 Light" panose="02010600030101010101" pitchFamily="2" charset="-122"/>
                <a:ea typeface="等线 Light" panose="02010600030101010101" pitchFamily="2" charset="-122"/>
              </a:rPr>
              <a:t>粘贴，并选择只保留文字。在此录入上述图表的综合描述说明。</a:t>
            </a:r>
            <a:endParaRPr lang="zh-CN" altLang="zh-CN" sz="1600" dirty="0">
              <a:solidFill>
                <a:schemeClr val="bg1"/>
              </a:solidFill>
              <a:latin typeface="等线 Light" panose="02010600030101010101" pitchFamily="2" charset="-122"/>
              <a:ea typeface="等线 Light" panose="02010600030101010101" pitchFamily="2" charset="-122"/>
            </a:endParaRPr>
          </a:p>
        </p:txBody>
      </p:sp>
      <p:sp>
        <p:nvSpPr>
          <p:cNvPr id="6" name="标题1"/>
          <p:cNvSpPr>
            <a:spLocks noChangeArrowheads="1"/>
          </p:cNvSpPr>
          <p:nvPr/>
        </p:nvSpPr>
        <p:spPr bwMode="gray">
          <a:xfrm>
            <a:off x="3531557" y="1823221"/>
            <a:ext cx="1286817" cy="1239271"/>
          </a:xfrm>
          <a:prstGeom prst="roundRect">
            <a:avLst>
              <a:gd name="adj" fmla="val 11921"/>
            </a:avLst>
          </a:prstGeom>
          <a:solidFill>
            <a:schemeClr val="accent1">
              <a:lumMod val="50000"/>
            </a:schemeClr>
          </a:solidFill>
          <a:ln w="63500" cap="flat" cmpd="sng" algn="ctr">
            <a:solidFill>
              <a:schemeClr val="bg1"/>
            </a:solidFill>
            <a:prstDash val="solid"/>
          </a:ln>
          <a:effectLst>
            <a:outerShdw blurRad="127000" dist="38100" dir="5400000" algn="ctr" rotWithShape="0">
              <a:prstClr val="black">
                <a:alpha val="40000"/>
              </a:prstClr>
            </a:outerShdw>
          </a:effectLst>
        </p:spPr>
        <p:txBody>
          <a:bodyPr lIns="61044" tIns="30521" rIns="61044" bIns="3052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400" dirty="0">
                <a:solidFill>
                  <a:schemeClr val="bg1"/>
                </a:solidFill>
                <a:latin typeface="等线 Light" panose="02010600030101010101" pitchFamily="2" charset="-122"/>
                <a:ea typeface="等线 Light" panose="02010600030101010101" pitchFamily="2" charset="-122"/>
              </a:rPr>
              <a:t>添加标题</a:t>
            </a:r>
            <a:endParaRPr lang="zh-CN" altLang="zh-CN" sz="1400" dirty="0">
              <a:solidFill>
                <a:schemeClr val="bg1"/>
              </a:solidFill>
              <a:latin typeface="等线 Light" panose="02010600030101010101" pitchFamily="2" charset="-122"/>
              <a:ea typeface="等线 Light" panose="02010600030101010101" pitchFamily="2" charset="-122"/>
            </a:endParaRPr>
          </a:p>
        </p:txBody>
      </p:sp>
      <p:sp>
        <p:nvSpPr>
          <p:cNvPr id="7" name="文本2"/>
          <p:cNvSpPr>
            <a:spLocks noChangeArrowheads="1"/>
          </p:cNvSpPr>
          <p:nvPr/>
        </p:nvSpPr>
        <p:spPr bwMode="gray">
          <a:xfrm>
            <a:off x="5088483" y="3290900"/>
            <a:ext cx="6321324" cy="1228883"/>
          </a:xfrm>
          <a:prstGeom prst="roundRect">
            <a:avLst>
              <a:gd name="adj" fmla="val 11505"/>
            </a:avLst>
          </a:prstGeom>
          <a:noFill/>
          <a:ln w="15875" cap="flat" cmpd="sng" algn="ctr">
            <a:solidFill>
              <a:schemeClr val="accent1">
                <a:lumMod val="50000"/>
              </a:schemeClr>
            </a:solidFill>
            <a:prstDash val="solid"/>
          </a:ln>
          <a:effectLst/>
          <a:extLst/>
        </p:spPr>
        <p:txBody>
          <a:bodyPr lIns="61044" tIns="30521" rIns="61044" bIns="3052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bg1"/>
                </a:solidFill>
                <a:latin typeface="等线 Light" panose="02010600030101010101" pitchFamily="2" charset="-122"/>
                <a:ea typeface="等线 Light" panose="02010600030101010101" pitchFamily="2" charset="-122"/>
              </a:rPr>
              <a:t>您的内容打在这里，或者通过复制您的文本后，在此框中选择</a:t>
            </a:r>
            <a:endParaRPr lang="en-US" altLang="zh-CN" sz="1600" dirty="0">
              <a:solidFill>
                <a:schemeClr val="bg1"/>
              </a:solidFill>
              <a:latin typeface="等线 Light" panose="02010600030101010101" pitchFamily="2" charset="-122"/>
              <a:ea typeface="等线 Light" panose="02010600030101010101" pitchFamily="2" charset="-122"/>
            </a:endParaRPr>
          </a:p>
          <a:p>
            <a:pPr fontAlgn="base">
              <a:lnSpc>
                <a:spcPct val="120000"/>
              </a:lnSpc>
              <a:spcBef>
                <a:spcPct val="0"/>
              </a:spcBef>
              <a:spcAft>
                <a:spcPct val="0"/>
              </a:spcAft>
              <a:defRPr/>
            </a:pPr>
            <a:r>
              <a:rPr lang="zh-CN" altLang="en-US" sz="1600" dirty="0">
                <a:solidFill>
                  <a:schemeClr val="bg1"/>
                </a:solidFill>
                <a:latin typeface="等线 Light" panose="02010600030101010101" pitchFamily="2" charset="-122"/>
                <a:ea typeface="等线 Light" panose="02010600030101010101" pitchFamily="2" charset="-122"/>
              </a:rPr>
              <a:t>粘贴，并选择只保留文字。在此录入上述图表的综合描述说明。</a:t>
            </a:r>
            <a:endParaRPr lang="zh-CN" altLang="zh-CN" sz="1600" dirty="0">
              <a:solidFill>
                <a:schemeClr val="bg1"/>
              </a:solidFill>
              <a:latin typeface="等线 Light" panose="02010600030101010101" pitchFamily="2" charset="-122"/>
              <a:ea typeface="等线 Light" panose="02010600030101010101" pitchFamily="2" charset="-122"/>
            </a:endParaRPr>
          </a:p>
        </p:txBody>
      </p:sp>
      <p:sp>
        <p:nvSpPr>
          <p:cNvPr id="8" name="标题2"/>
          <p:cNvSpPr>
            <a:spLocks noChangeArrowheads="1"/>
          </p:cNvSpPr>
          <p:nvPr/>
        </p:nvSpPr>
        <p:spPr bwMode="gray">
          <a:xfrm>
            <a:off x="3486727" y="3290901"/>
            <a:ext cx="1286817" cy="1228883"/>
          </a:xfrm>
          <a:prstGeom prst="roundRect">
            <a:avLst>
              <a:gd name="adj" fmla="val 11921"/>
            </a:avLst>
          </a:prstGeom>
          <a:solidFill>
            <a:schemeClr val="accent1">
              <a:lumMod val="50000"/>
            </a:schemeClr>
          </a:solidFill>
          <a:ln w="63500" cap="flat" cmpd="sng" algn="ctr">
            <a:solidFill>
              <a:schemeClr val="bg1"/>
            </a:solidFill>
            <a:prstDash val="solid"/>
          </a:ln>
          <a:effectLst>
            <a:outerShdw blurRad="127000" dist="38100" dir="5400000" algn="ctr" rotWithShape="0">
              <a:prstClr val="black">
                <a:alpha val="40000"/>
              </a:prstClr>
            </a:outerShdw>
          </a:effectLst>
        </p:spPr>
        <p:txBody>
          <a:bodyPr lIns="61044" tIns="30521" rIns="61044" bIns="3052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400" dirty="0">
                <a:solidFill>
                  <a:schemeClr val="bg1"/>
                </a:solidFill>
                <a:latin typeface="等线 Light" panose="02010600030101010101" pitchFamily="2" charset="-122"/>
                <a:ea typeface="等线 Light" panose="02010600030101010101" pitchFamily="2" charset="-122"/>
              </a:rPr>
              <a:t>添加标题</a:t>
            </a:r>
            <a:endParaRPr lang="zh-CN" altLang="zh-CN" sz="1400" dirty="0">
              <a:solidFill>
                <a:schemeClr val="bg1"/>
              </a:solidFill>
              <a:latin typeface="等线 Light" panose="02010600030101010101" pitchFamily="2" charset="-122"/>
              <a:ea typeface="等线 Light" panose="02010600030101010101" pitchFamily="2" charset="-122"/>
            </a:endParaRPr>
          </a:p>
        </p:txBody>
      </p:sp>
      <p:sp>
        <p:nvSpPr>
          <p:cNvPr id="9" name="文本3"/>
          <p:cNvSpPr>
            <a:spLocks noChangeArrowheads="1"/>
          </p:cNvSpPr>
          <p:nvPr/>
        </p:nvSpPr>
        <p:spPr bwMode="ltGray">
          <a:xfrm>
            <a:off x="5088483" y="4748193"/>
            <a:ext cx="6321324" cy="1217920"/>
          </a:xfrm>
          <a:prstGeom prst="roundRect">
            <a:avLst>
              <a:gd name="adj" fmla="val 11505"/>
            </a:avLst>
          </a:prstGeom>
          <a:noFill/>
          <a:ln w="15875" cap="flat" cmpd="sng" algn="ctr">
            <a:solidFill>
              <a:schemeClr val="accent1">
                <a:lumMod val="50000"/>
              </a:schemeClr>
            </a:solidFill>
            <a:prstDash val="solid"/>
          </a:ln>
          <a:effectLst/>
          <a:extLst/>
        </p:spPr>
        <p:txBody>
          <a:bodyPr lIns="61044" tIns="30521" rIns="61044" bIns="3052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bg1"/>
                </a:solidFill>
                <a:latin typeface="等线 Light" panose="02010600030101010101" pitchFamily="2" charset="-122"/>
                <a:ea typeface="等线 Light" panose="02010600030101010101" pitchFamily="2" charset="-122"/>
              </a:rPr>
              <a:t>您的内容打在这里，或者通过复制您的文本后，在此框中选择</a:t>
            </a:r>
            <a:endParaRPr lang="en-US" altLang="zh-CN" sz="1600" dirty="0">
              <a:solidFill>
                <a:schemeClr val="bg1"/>
              </a:solidFill>
              <a:latin typeface="等线 Light" panose="02010600030101010101" pitchFamily="2" charset="-122"/>
              <a:ea typeface="等线 Light" panose="02010600030101010101" pitchFamily="2" charset="-122"/>
            </a:endParaRPr>
          </a:p>
          <a:p>
            <a:pPr fontAlgn="base">
              <a:lnSpc>
                <a:spcPct val="120000"/>
              </a:lnSpc>
              <a:spcBef>
                <a:spcPct val="0"/>
              </a:spcBef>
              <a:spcAft>
                <a:spcPct val="0"/>
              </a:spcAft>
              <a:defRPr/>
            </a:pPr>
            <a:r>
              <a:rPr lang="zh-CN" altLang="en-US" sz="1600" dirty="0">
                <a:solidFill>
                  <a:schemeClr val="bg1"/>
                </a:solidFill>
                <a:latin typeface="等线 Light" panose="02010600030101010101" pitchFamily="2" charset="-122"/>
                <a:ea typeface="等线 Light" panose="02010600030101010101" pitchFamily="2" charset="-122"/>
              </a:rPr>
              <a:t>粘贴，并选择只保留文字。在此录入上述图表的综合描述说明。</a:t>
            </a:r>
            <a:endParaRPr lang="zh-CN" altLang="zh-CN" sz="1600" dirty="0">
              <a:solidFill>
                <a:schemeClr val="bg1"/>
              </a:solidFill>
              <a:latin typeface="等线 Light" panose="02010600030101010101" pitchFamily="2" charset="-122"/>
              <a:ea typeface="等线 Light" panose="02010600030101010101" pitchFamily="2" charset="-122"/>
            </a:endParaRPr>
          </a:p>
        </p:txBody>
      </p:sp>
      <p:sp>
        <p:nvSpPr>
          <p:cNvPr id="10" name="标题3"/>
          <p:cNvSpPr>
            <a:spLocks noChangeArrowheads="1"/>
          </p:cNvSpPr>
          <p:nvPr/>
        </p:nvSpPr>
        <p:spPr bwMode="gray">
          <a:xfrm>
            <a:off x="3486726" y="4748193"/>
            <a:ext cx="1286817" cy="1217920"/>
          </a:xfrm>
          <a:prstGeom prst="roundRect">
            <a:avLst>
              <a:gd name="adj" fmla="val 11921"/>
            </a:avLst>
          </a:prstGeom>
          <a:solidFill>
            <a:schemeClr val="accent1">
              <a:lumMod val="50000"/>
            </a:schemeClr>
          </a:solidFill>
          <a:ln w="63500" cap="flat" cmpd="sng" algn="ctr">
            <a:solidFill>
              <a:schemeClr val="bg1"/>
            </a:solidFill>
            <a:prstDash val="solid"/>
          </a:ln>
          <a:effectLst>
            <a:outerShdw blurRad="127000" dist="38100" dir="5400000" algn="ctr" rotWithShape="0">
              <a:prstClr val="black">
                <a:alpha val="40000"/>
              </a:prstClr>
            </a:outerShdw>
          </a:effectLst>
        </p:spPr>
        <p:txBody>
          <a:bodyPr lIns="61044" tIns="30521" rIns="61044" bIns="3052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400" dirty="0">
                <a:solidFill>
                  <a:schemeClr val="bg1"/>
                </a:solidFill>
                <a:latin typeface="等线 Light" panose="02010600030101010101" pitchFamily="2" charset="-122"/>
                <a:ea typeface="等线 Light" panose="02010600030101010101" pitchFamily="2" charset="-122"/>
              </a:rPr>
              <a:t>添加标题</a:t>
            </a:r>
            <a:endParaRPr lang="zh-CN" altLang="zh-CN" sz="1400" dirty="0">
              <a:solidFill>
                <a:schemeClr val="bg1"/>
              </a:solidFill>
              <a:latin typeface="等线 Light" panose="02010600030101010101" pitchFamily="2" charset="-122"/>
              <a:ea typeface="等线 Light" panose="02010600030101010101" pitchFamily="2" charset="-122"/>
            </a:endParaRPr>
          </a:p>
        </p:txBody>
      </p:sp>
      <p:sp>
        <p:nvSpPr>
          <p:cNvPr id="11" name="Oval 19"/>
          <p:cNvSpPr>
            <a:spLocks noChangeArrowheads="1"/>
          </p:cNvSpPr>
          <p:nvPr/>
        </p:nvSpPr>
        <p:spPr bwMode="auto">
          <a:xfrm>
            <a:off x="673663" y="3130523"/>
            <a:ext cx="1431760" cy="1427088"/>
          </a:xfrm>
          <a:prstGeom prst="ellipse">
            <a:avLst/>
          </a:prstGeom>
          <a:solidFill>
            <a:schemeClr val="accent1">
              <a:lumMod val="50000"/>
            </a:schemeClr>
          </a:solidFill>
          <a:ln w="63500">
            <a:solidFill>
              <a:schemeClr val="bg1"/>
            </a:solidFill>
            <a:round/>
            <a:headEnd/>
            <a:tailEnd/>
          </a:ln>
          <a:effectLst>
            <a:outerShdw blurRad="127000" dist="38100" dir="5400000" algn="ctr" rotWithShape="0">
              <a:prstClr val="black">
                <a:alpha val="40000"/>
              </a:prstClr>
            </a:outerShdw>
          </a:effectLst>
        </p:spPr>
        <p:txBody>
          <a:bodyPr lIns="61044" tIns="30521" rIns="61044" bIns="30521" anchor="ctr"/>
          <a:lstStyle/>
          <a:p>
            <a:pPr algn="ctr">
              <a:lnSpc>
                <a:spcPct val="120000"/>
              </a:lnSpc>
              <a:defRPr/>
            </a:pPr>
            <a:r>
              <a:rPr lang="zh-CN" altLang="en-US" b="1" kern="0" dirty="0">
                <a:solidFill>
                  <a:schemeClr val="bg1"/>
                </a:solidFill>
                <a:latin typeface="等线 Light" panose="02010600030101010101" pitchFamily="2" charset="-122"/>
                <a:ea typeface="等线 Light" panose="02010600030101010101" pitchFamily="2" charset="-122"/>
              </a:rPr>
              <a:t>添加标题</a:t>
            </a:r>
          </a:p>
        </p:txBody>
      </p:sp>
      <p:sp>
        <p:nvSpPr>
          <p:cNvPr id="12"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13"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6" name="音频 1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560541136"/>
      </p:ext>
    </p:extLst>
  </p:cSld>
  <p:clrMapOvr>
    <a:masterClrMapping/>
  </p:clrMapOvr>
  <mc:AlternateContent xmlns:mc="http://schemas.openxmlformats.org/markup-compatibility/2006" xmlns:p14="http://schemas.microsoft.com/office/powerpoint/2010/main">
    <mc:Choice Requires="p14">
      <p:transition spd="slow" p14:dur="1200" advTm="1460">
        <p:dissolve/>
      </p:transition>
    </mc:Choice>
    <mc:Fallback xmlns="">
      <p:transition spd="slow" advTm="146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6"/>
                                        </p:tgtEl>
                                      </p:cBhvr>
                                    </p:cmd>
                                  </p:childTnLst>
                                </p:cTn>
                              </p:par>
                            </p:childTnLst>
                          </p:cTn>
                        </p:par>
                        <p:par>
                          <p:cTn id="7" fill="hold">
                            <p:stCondLst>
                              <p:cond delay="0"/>
                            </p:stCondLst>
                            <p:childTnLst>
                              <p:par>
                                <p:cTn id="8" presetID="53" presetClass="entr" presetSubtype="16" fill="hold" grpId="0" nodeType="afterEffect">
                                  <p:stCondLst>
                                    <p:cond delay="0"/>
                                  </p:stCondLst>
                                  <p:childTnLst>
                                    <p:set>
                                      <p:cBhvr>
                                        <p:cTn id="9" dur="1" fill="hold">
                                          <p:stCondLst>
                                            <p:cond delay="0"/>
                                          </p:stCondLst>
                                        </p:cTn>
                                        <p:tgtEl>
                                          <p:spTgt spid="11"/>
                                        </p:tgtEl>
                                        <p:attrNameLst>
                                          <p:attrName>style.visibility</p:attrName>
                                        </p:attrNameLst>
                                      </p:cBhvr>
                                      <p:to>
                                        <p:strVal val="visible"/>
                                      </p:to>
                                    </p:set>
                                    <p:anim calcmode="lin" valueType="num">
                                      <p:cBhvr>
                                        <p:cTn id="10" dur="500" fill="hold"/>
                                        <p:tgtEl>
                                          <p:spTgt spid="11"/>
                                        </p:tgtEl>
                                        <p:attrNameLst>
                                          <p:attrName>ppt_w</p:attrName>
                                        </p:attrNameLst>
                                      </p:cBhvr>
                                      <p:tavLst>
                                        <p:tav tm="0">
                                          <p:val>
                                            <p:fltVal val="0"/>
                                          </p:val>
                                        </p:tav>
                                        <p:tav tm="100000">
                                          <p:val>
                                            <p:strVal val="#ppt_w"/>
                                          </p:val>
                                        </p:tav>
                                      </p:tavLst>
                                    </p:anim>
                                    <p:anim calcmode="lin" valueType="num">
                                      <p:cBhvr>
                                        <p:cTn id="11" dur="500" fill="hold"/>
                                        <p:tgtEl>
                                          <p:spTgt spid="11"/>
                                        </p:tgtEl>
                                        <p:attrNameLst>
                                          <p:attrName>ppt_h</p:attrName>
                                        </p:attrNameLst>
                                      </p:cBhvr>
                                      <p:tavLst>
                                        <p:tav tm="0">
                                          <p:val>
                                            <p:fltVal val="0"/>
                                          </p:val>
                                        </p:tav>
                                        <p:tav tm="100000">
                                          <p:val>
                                            <p:strVal val="#ppt_h"/>
                                          </p:val>
                                        </p:tav>
                                      </p:tavLst>
                                    </p:anim>
                                    <p:animEffect transition="in" filter="fade">
                                      <p:cBhvr>
                                        <p:cTn id="12" dur="500"/>
                                        <p:tgtEl>
                                          <p:spTgt spid="11"/>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500"/>
                                        <p:tgtEl>
                                          <p:spTgt spid="6"/>
                                        </p:tgtEl>
                                      </p:cBhvr>
                                    </p:animEffect>
                                  </p:childTnLst>
                                </p:cTn>
                              </p:par>
                            </p:childTnLst>
                          </p:cTn>
                        </p:par>
                        <p:par>
                          <p:cTn id="21" fill="hold">
                            <p:stCondLst>
                              <p:cond delay="1500"/>
                            </p:stCondLst>
                            <p:childTnLst>
                              <p:par>
                                <p:cTn id="22" presetID="22" presetClass="entr" presetSubtype="8"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left)">
                                      <p:cBhvr>
                                        <p:cTn id="24" dur="500"/>
                                        <p:tgtEl>
                                          <p:spTgt spid="5"/>
                                        </p:tgtEl>
                                      </p:cBhvr>
                                    </p:animEffect>
                                  </p:childTnLst>
                                </p:cTn>
                              </p:par>
                            </p:childTnLst>
                          </p:cTn>
                        </p:par>
                        <p:par>
                          <p:cTn id="25" fill="hold">
                            <p:stCondLst>
                              <p:cond delay="2000"/>
                            </p:stCondLst>
                            <p:childTnLst>
                              <p:par>
                                <p:cTn id="26" presetID="22" presetClass="entr" presetSubtype="8" fill="hold" grpId="0" nodeType="after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wipe(left)">
                                      <p:cBhvr>
                                        <p:cTn id="28" dur="500"/>
                                        <p:tgtEl>
                                          <p:spTgt spid="3"/>
                                        </p:tgtEl>
                                      </p:cBhvr>
                                    </p:animEffect>
                                  </p:childTnLst>
                                </p:cTn>
                              </p:par>
                            </p:childTnLst>
                          </p:cTn>
                        </p:par>
                        <p:par>
                          <p:cTn id="29" fill="hold">
                            <p:stCondLst>
                              <p:cond delay="2500"/>
                            </p:stCondLst>
                            <p:childTnLst>
                              <p:par>
                                <p:cTn id="30" presetID="22" presetClass="entr" presetSubtype="8"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wipe(left)">
                                      <p:cBhvr>
                                        <p:cTn id="32" dur="500"/>
                                        <p:tgtEl>
                                          <p:spTgt spid="8"/>
                                        </p:tgtEl>
                                      </p:cBhvr>
                                    </p:animEffect>
                                  </p:childTnLst>
                                </p:cTn>
                              </p:par>
                            </p:childTnLst>
                          </p:cTn>
                        </p:par>
                        <p:par>
                          <p:cTn id="33" fill="hold">
                            <p:stCondLst>
                              <p:cond delay="3000"/>
                            </p:stCondLst>
                            <p:childTnLst>
                              <p:par>
                                <p:cTn id="34" presetID="22" presetClass="entr" presetSubtype="8"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left)">
                                      <p:cBhvr>
                                        <p:cTn id="36" dur="500"/>
                                        <p:tgtEl>
                                          <p:spTgt spid="7"/>
                                        </p:tgtEl>
                                      </p:cBhvr>
                                    </p:animEffect>
                                  </p:childTnLst>
                                </p:cTn>
                              </p:par>
                            </p:childTnLst>
                          </p:cTn>
                        </p:par>
                        <p:par>
                          <p:cTn id="37" fill="hold">
                            <p:stCondLst>
                              <p:cond delay="3500"/>
                            </p:stCondLst>
                            <p:childTnLst>
                              <p:par>
                                <p:cTn id="38" presetID="22" presetClass="entr" presetSubtype="8" fill="hold" grpId="0" nodeType="after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wipe(left)">
                                      <p:cBhvr>
                                        <p:cTn id="40" dur="500"/>
                                        <p:tgtEl>
                                          <p:spTgt spid="2"/>
                                        </p:tgtEl>
                                      </p:cBhvr>
                                    </p:animEffect>
                                  </p:childTnLst>
                                </p:cTn>
                              </p:par>
                            </p:childTnLst>
                          </p:cTn>
                        </p:par>
                        <p:par>
                          <p:cTn id="41" fill="hold">
                            <p:stCondLst>
                              <p:cond delay="4000"/>
                            </p:stCondLst>
                            <p:childTnLst>
                              <p:par>
                                <p:cTn id="42" presetID="22" presetClass="entr" presetSubtype="8" fill="hold" grpId="0" nodeType="after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wipe(left)">
                                      <p:cBhvr>
                                        <p:cTn id="44" dur="500"/>
                                        <p:tgtEl>
                                          <p:spTgt spid="10"/>
                                        </p:tgtEl>
                                      </p:cBhvr>
                                    </p:animEffect>
                                  </p:childTnLst>
                                </p:cTn>
                              </p:par>
                            </p:childTnLst>
                          </p:cTn>
                        </p:par>
                        <p:par>
                          <p:cTn id="45" fill="hold">
                            <p:stCondLst>
                              <p:cond delay="4500"/>
                            </p:stCondLst>
                            <p:childTnLst>
                              <p:par>
                                <p:cTn id="46" presetID="22" presetClass="entr" presetSubtype="8" fill="hold" grpId="0" nodeType="after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wipe(left)">
                                      <p:cBhvr>
                                        <p:cTn id="4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9" fill="hold" display="0">
                  <p:stCondLst>
                    <p:cond delay="indefinite"/>
                  </p:stCondLst>
                  <p:endCondLst>
                    <p:cond evt="onStopAudio" delay="0">
                      <p:tgtEl>
                        <p:sldTgt/>
                      </p:tgtEl>
                    </p:cond>
                  </p:endCondLst>
                </p:cTn>
                <p:tgtEl>
                  <p:spTgt spid="16"/>
                </p:tgtEl>
              </p:cMediaNode>
            </p:audio>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组合 1"/>
          <p:cNvGrpSpPr/>
          <p:nvPr/>
        </p:nvGrpSpPr>
        <p:grpSpPr>
          <a:xfrm>
            <a:off x="4246774" y="2113946"/>
            <a:ext cx="2342025" cy="1807078"/>
            <a:chOff x="4232026" y="2261430"/>
            <a:chExt cx="2342025" cy="1807078"/>
          </a:xfrm>
        </p:grpSpPr>
        <p:sp>
          <p:nvSpPr>
            <p:cNvPr id="3" name="Freeform 7"/>
            <p:cNvSpPr/>
            <p:nvPr/>
          </p:nvSpPr>
          <p:spPr bwMode="auto">
            <a:xfrm>
              <a:off x="4232026" y="2261430"/>
              <a:ext cx="2342025" cy="1807078"/>
            </a:xfrm>
            <a:custGeom>
              <a:avLst/>
              <a:gdLst>
                <a:gd name="T0" fmla="*/ 429 w 455"/>
                <a:gd name="T1" fmla="*/ 60 h 351"/>
                <a:gd name="T2" fmla="*/ 401 w 455"/>
                <a:gd name="T3" fmla="*/ 70 h 351"/>
                <a:gd name="T4" fmla="*/ 372 w 455"/>
                <a:gd name="T5" fmla="*/ 72 h 351"/>
                <a:gd name="T6" fmla="*/ 368 w 455"/>
                <a:gd name="T7" fmla="*/ 70 h 351"/>
                <a:gd name="T8" fmla="*/ 361 w 455"/>
                <a:gd name="T9" fmla="*/ 65 h 351"/>
                <a:gd name="T10" fmla="*/ 351 w 455"/>
                <a:gd name="T11" fmla="*/ 43 h 351"/>
                <a:gd name="T12" fmla="*/ 351 w 455"/>
                <a:gd name="T13" fmla="*/ 42 h 351"/>
                <a:gd name="T14" fmla="*/ 351 w 455"/>
                <a:gd name="T15" fmla="*/ 38 h 351"/>
                <a:gd name="T16" fmla="*/ 351 w 455"/>
                <a:gd name="T17" fmla="*/ 37 h 351"/>
                <a:gd name="T18" fmla="*/ 351 w 455"/>
                <a:gd name="T19" fmla="*/ 35 h 351"/>
                <a:gd name="T20" fmla="*/ 351 w 455"/>
                <a:gd name="T21" fmla="*/ 0 h 351"/>
                <a:gd name="T22" fmla="*/ 0 w 455"/>
                <a:gd name="T23" fmla="*/ 351 h 351"/>
                <a:gd name="T24" fmla="*/ 35 w 455"/>
                <a:gd name="T25" fmla="*/ 351 h 351"/>
                <a:gd name="T26" fmla="*/ 46 w 455"/>
                <a:gd name="T27" fmla="*/ 345 h 351"/>
                <a:gd name="T28" fmla="*/ 46 w 455"/>
                <a:gd name="T29" fmla="*/ 332 h 351"/>
                <a:gd name="T30" fmla="*/ 33 w 455"/>
                <a:gd name="T31" fmla="*/ 294 h 351"/>
                <a:gd name="T32" fmla="*/ 86 w 455"/>
                <a:gd name="T33" fmla="*/ 248 h 351"/>
                <a:gd name="T34" fmla="*/ 138 w 455"/>
                <a:gd name="T35" fmla="*/ 294 h 351"/>
                <a:gd name="T36" fmla="*/ 126 w 455"/>
                <a:gd name="T37" fmla="*/ 332 h 351"/>
                <a:gd name="T38" fmla="*/ 125 w 455"/>
                <a:gd name="T39" fmla="*/ 345 h 351"/>
                <a:gd name="T40" fmla="*/ 137 w 455"/>
                <a:gd name="T41" fmla="*/ 351 h 351"/>
                <a:gd name="T42" fmla="*/ 174 w 455"/>
                <a:gd name="T43" fmla="*/ 351 h 351"/>
                <a:gd name="T44" fmla="*/ 351 w 455"/>
                <a:gd name="T45" fmla="*/ 174 h 351"/>
                <a:gd name="T46" fmla="*/ 351 w 455"/>
                <a:gd name="T47" fmla="*/ 141 h 351"/>
                <a:gd name="T48" fmla="*/ 361 w 455"/>
                <a:gd name="T49" fmla="*/ 118 h 351"/>
                <a:gd name="T50" fmla="*/ 368 w 455"/>
                <a:gd name="T51" fmla="*/ 113 h 351"/>
                <a:gd name="T52" fmla="*/ 372 w 455"/>
                <a:gd name="T53" fmla="*/ 111 h 351"/>
                <a:gd name="T54" fmla="*/ 401 w 455"/>
                <a:gd name="T55" fmla="*/ 113 h 351"/>
                <a:gd name="T56" fmla="*/ 429 w 455"/>
                <a:gd name="T57" fmla="*/ 123 h 351"/>
                <a:gd name="T58" fmla="*/ 455 w 455"/>
                <a:gd name="T59" fmla="*/ 92 h 351"/>
                <a:gd name="T60" fmla="*/ 429 w 455"/>
                <a:gd name="T61" fmla="*/ 6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5" h="351">
                  <a:moveTo>
                    <a:pt x="429" y="60"/>
                  </a:moveTo>
                  <a:cubicBezTo>
                    <a:pt x="424" y="60"/>
                    <a:pt x="410" y="65"/>
                    <a:pt x="401" y="70"/>
                  </a:cubicBezTo>
                  <a:cubicBezTo>
                    <a:pt x="391" y="75"/>
                    <a:pt x="381" y="76"/>
                    <a:pt x="372" y="72"/>
                  </a:cubicBezTo>
                  <a:cubicBezTo>
                    <a:pt x="370" y="72"/>
                    <a:pt x="369" y="71"/>
                    <a:pt x="368" y="70"/>
                  </a:cubicBezTo>
                  <a:cubicBezTo>
                    <a:pt x="365" y="69"/>
                    <a:pt x="363" y="67"/>
                    <a:pt x="361" y="65"/>
                  </a:cubicBezTo>
                  <a:cubicBezTo>
                    <a:pt x="356" y="60"/>
                    <a:pt x="353" y="52"/>
                    <a:pt x="351" y="43"/>
                  </a:cubicBezTo>
                  <a:cubicBezTo>
                    <a:pt x="351" y="42"/>
                    <a:pt x="351" y="42"/>
                    <a:pt x="351" y="42"/>
                  </a:cubicBezTo>
                  <a:cubicBezTo>
                    <a:pt x="351" y="38"/>
                    <a:pt x="351" y="38"/>
                    <a:pt x="351" y="38"/>
                  </a:cubicBezTo>
                  <a:cubicBezTo>
                    <a:pt x="351" y="37"/>
                    <a:pt x="351" y="37"/>
                    <a:pt x="351" y="37"/>
                  </a:cubicBezTo>
                  <a:cubicBezTo>
                    <a:pt x="351" y="35"/>
                    <a:pt x="351" y="35"/>
                    <a:pt x="351" y="35"/>
                  </a:cubicBezTo>
                  <a:cubicBezTo>
                    <a:pt x="351" y="0"/>
                    <a:pt x="351" y="0"/>
                    <a:pt x="351" y="0"/>
                  </a:cubicBezTo>
                  <a:cubicBezTo>
                    <a:pt x="160" y="6"/>
                    <a:pt x="5" y="160"/>
                    <a:pt x="0" y="351"/>
                  </a:cubicBezTo>
                  <a:cubicBezTo>
                    <a:pt x="35" y="351"/>
                    <a:pt x="35" y="351"/>
                    <a:pt x="35" y="351"/>
                  </a:cubicBezTo>
                  <a:cubicBezTo>
                    <a:pt x="39" y="350"/>
                    <a:pt x="44" y="349"/>
                    <a:pt x="46" y="345"/>
                  </a:cubicBezTo>
                  <a:cubicBezTo>
                    <a:pt x="49" y="340"/>
                    <a:pt x="48" y="335"/>
                    <a:pt x="46" y="332"/>
                  </a:cubicBezTo>
                  <a:cubicBezTo>
                    <a:pt x="44" y="329"/>
                    <a:pt x="33" y="306"/>
                    <a:pt x="33" y="294"/>
                  </a:cubicBezTo>
                  <a:cubicBezTo>
                    <a:pt x="33" y="268"/>
                    <a:pt x="57" y="248"/>
                    <a:pt x="86" y="248"/>
                  </a:cubicBezTo>
                  <a:cubicBezTo>
                    <a:pt x="115" y="248"/>
                    <a:pt x="138" y="268"/>
                    <a:pt x="138" y="294"/>
                  </a:cubicBezTo>
                  <a:cubicBezTo>
                    <a:pt x="138" y="306"/>
                    <a:pt x="127" y="329"/>
                    <a:pt x="126" y="332"/>
                  </a:cubicBezTo>
                  <a:cubicBezTo>
                    <a:pt x="124" y="335"/>
                    <a:pt x="122" y="340"/>
                    <a:pt x="125" y="345"/>
                  </a:cubicBezTo>
                  <a:cubicBezTo>
                    <a:pt x="128" y="349"/>
                    <a:pt x="133" y="351"/>
                    <a:pt x="137" y="351"/>
                  </a:cubicBezTo>
                  <a:cubicBezTo>
                    <a:pt x="174" y="351"/>
                    <a:pt x="174" y="351"/>
                    <a:pt x="174" y="351"/>
                  </a:cubicBezTo>
                  <a:cubicBezTo>
                    <a:pt x="179" y="256"/>
                    <a:pt x="256" y="180"/>
                    <a:pt x="351" y="174"/>
                  </a:cubicBezTo>
                  <a:cubicBezTo>
                    <a:pt x="351" y="141"/>
                    <a:pt x="351" y="141"/>
                    <a:pt x="351" y="141"/>
                  </a:cubicBezTo>
                  <a:cubicBezTo>
                    <a:pt x="352" y="132"/>
                    <a:pt x="356" y="124"/>
                    <a:pt x="361" y="118"/>
                  </a:cubicBezTo>
                  <a:cubicBezTo>
                    <a:pt x="363" y="116"/>
                    <a:pt x="365" y="114"/>
                    <a:pt x="368" y="113"/>
                  </a:cubicBezTo>
                  <a:cubicBezTo>
                    <a:pt x="369" y="112"/>
                    <a:pt x="370" y="112"/>
                    <a:pt x="372" y="111"/>
                  </a:cubicBezTo>
                  <a:cubicBezTo>
                    <a:pt x="381" y="107"/>
                    <a:pt x="391" y="108"/>
                    <a:pt x="401" y="113"/>
                  </a:cubicBezTo>
                  <a:cubicBezTo>
                    <a:pt x="410" y="118"/>
                    <a:pt x="424" y="123"/>
                    <a:pt x="429" y="123"/>
                  </a:cubicBezTo>
                  <a:cubicBezTo>
                    <a:pt x="443" y="123"/>
                    <a:pt x="455" y="109"/>
                    <a:pt x="455" y="92"/>
                  </a:cubicBezTo>
                  <a:cubicBezTo>
                    <a:pt x="455" y="74"/>
                    <a:pt x="443" y="60"/>
                    <a:pt x="429" y="60"/>
                  </a:cubicBezTo>
                  <a:close/>
                </a:path>
              </a:pathLst>
            </a:custGeom>
            <a:solidFill>
              <a:srgbClr val="247C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prstClr val="white"/>
                </a:solidFill>
              </a:endParaRPr>
            </a:p>
          </p:txBody>
        </p:sp>
        <p:sp>
          <p:nvSpPr>
            <p:cNvPr id="4" name="矩形 3"/>
            <p:cNvSpPr/>
            <p:nvPr/>
          </p:nvSpPr>
          <p:spPr>
            <a:xfrm>
              <a:off x="4879241" y="2826541"/>
              <a:ext cx="731905" cy="480620"/>
            </a:xfrm>
            <a:prstGeom prst="rect">
              <a:avLst/>
            </a:prstGeom>
            <a:effectLst/>
          </p:spPr>
          <p:txBody>
            <a:bodyPr wrap="square">
              <a:spAutoFit/>
            </a:bodyPr>
            <a:lstStyle/>
            <a:p>
              <a:pPr algn="ctr"/>
              <a:r>
                <a:rPr lang="en-US" altLang="zh-CN" sz="3200" dirty="0">
                  <a:solidFill>
                    <a:schemeClr val="bg1"/>
                  </a:solidFill>
                  <a:latin typeface="Haettenschweiler" panose="020B0706040902060204" pitchFamily="34" charset="0"/>
                  <a:ea typeface="微软雅黑" panose="020B0503020204020204" charset="-122"/>
                </a:rPr>
                <a:t>01</a:t>
              </a:r>
              <a:endParaRPr lang="zh-CN" altLang="en-US" sz="3200" dirty="0">
                <a:solidFill>
                  <a:schemeClr val="bg1"/>
                </a:solidFill>
                <a:latin typeface="Haettenschweiler" panose="020B0706040902060204" pitchFamily="34" charset="0"/>
                <a:ea typeface="微软雅黑" panose="020B0503020204020204" charset="-122"/>
              </a:endParaRPr>
            </a:p>
          </p:txBody>
        </p:sp>
      </p:grpSp>
      <p:grpSp>
        <p:nvGrpSpPr>
          <p:cNvPr id="5" name="组合 4"/>
          <p:cNvGrpSpPr/>
          <p:nvPr/>
        </p:nvGrpSpPr>
        <p:grpSpPr>
          <a:xfrm>
            <a:off x="6160841" y="2113946"/>
            <a:ext cx="1807078" cy="2315930"/>
            <a:chOff x="6146093" y="2261430"/>
            <a:chExt cx="1807078" cy="2315930"/>
          </a:xfrm>
        </p:grpSpPr>
        <p:sp>
          <p:nvSpPr>
            <p:cNvPr id="6" name="Freeform 6"/>
            <p:cNvSpPr/>
            <p:nvPr/>
          </p:nvSpPr>
          <p:spPr bwMode="auto">
            <a:xfrm>
              <a:off x="6146093" y="2261430"/>
              <a:ext cx="1807078" cy="2315930"/>
            </a:xfrm>
            <a:custGeom>
              <a:avLst/>
              <a:gdLst>
                <a:gd name="T0" fmla="*/ 0 w 351"/>
                <a:gd name="T1" fmla="*/ 0 h 450"/>
                <a:gd name="T2" fmla="*/ 0 w 351"/>
                <a:gd name="T3" fmla="*/ 41 h 450"/>
                <a:gd name="T4" fmla="*/ 6 w 351"/>
                <a:gd name="T5" fmla="*/ 52 h 450"/>
                <a:gd name="T6" fmla="*/ 19 w 351"/>
                <a:gd name="T7" fmla="*/ 52 h 450"/>
                <a:gd name="T8" fmla="*/ 57 w 351"/>
                <a:gd name="T9" fmla="*/ 39 h 450"/>
                <a:gd name="T10" fmla="*/ 103 w 351"/>
                <a:gd name="T11" fmla="*/ 92 h 450"/>
                <a:gd name="T12" fmla="*/ 57 w 351"/>
                <a:gd name="T13" fmla="*/ 144 h 450"/>
                <a:gd name="T14" fmla="*/ 19 w 351"/>
                <a:gd name="T15" fmla="*/ 132 h 450"/>
                <a:gd name="T16" fmla="*/ 6 w 351"/>
                <a:gd name="T17" fmla="*/ 131 h 450"/>
                <a:gd name="T18" fmla="*/ 0 w 351"/>
                <a:gd name="T19" fmla="*/ 143 h 450"/>
                <a:gd name="T20" fmla="*/ 0 w 351"/>
                <a:gd name="T21" fmla="*/ 174 h 450"/>
                <a:gd name="T22" fmla="*/ 177 w 351"/>
                <a:gd name="T23" fmla="*/ 351 h 450"/>
                <a:gd name="T24" fmla="*/ 215 w 351"/>
                <a:gd name="T25" fmla="*/ 351 h 450"/>
                <a:gd name="T26" fmla="*/ 237 w 351"/>
                <a:gd name="T27" fmla="*/ 362 h 450"/>
                <a:gd name="T28" fmla="*/ 242 w 351"/>
                <a:gd name="T29" fmla="*/ 367 h 450"/>
                <a:gd name="T30" fmla="*/ 243 w 351"/>
                <a:gd name="T31" fmla="*/ 369 h 450"/>
                <a:gd name="T32" fmla="*/ 243 w 351"/>
                <a:gd name="T33" fmla="*/ 370 h 450"/>
                <a:gd name="T34" fmla="*/ 244 w 351"/>
                <a:gd name="T35" fmla="*/ 372 h 450"/>
                <a:gd name="T36" fmla="*/ 244 w 351"/>
                <a:gd name="T37" fmla="*/ 372 h 450"/>
                <a:gd name="T38" fmla="*/ 244 w 351"/>
                <a:gd name="T39" fmla="*/ 372 h 450"/>
                <a:gd name="T40" fmla="*/ 246 w 351"/>
                <a:gd name="T41" fmla="*/ 382 h 450"/>
                <a:gd name="T42" fmla="*/ 246 w 351"/>
                <a:gd name="T43" fmla="*/ 382 h 450"/>
                <a:gd name="T44" fmla="*/ 246 w 351"/>
                <a:gd name="T45" fmla="*/ 385 h 450"/>
                <a:gd name="T46" fmla="*/ 246 w 351"/>
                <a:gd name="T47" fmla="*/ 385 h 450"/>
                <a:gd name="T48" fmla="*/ 245 w 351"/>
                <a:gd name="T49" fmla="*/ 392 h 450"/>
                <a:gd name="T50" fmla="*/ 245 w 351"/>
                <a:gd name="T51" fmla="*/ 392 h 450"/>
                <a:gd name="T52" fmla="*/ 244 w 351"/>
                <a:gd name="T53" fmla="*/ 395 h 450"/>
                <a:gd name="T54" fmla="*/ 243 w 351"/>
                <a:gd name="T55" fmla="*/ 396 h 450"/>
                <a:gd name="T56" fmla="*/ 242 w 351"/>
                <a:gd name="T57" fmla="*/ 399 h 450"/>
                <a:gd name="T58" fmla="*/ 232 w 351"/>
                <a:gd name="T59" fmla="*/ 426 h 450"/>
                <a:gd name="T60" fmla="*/ 262 w 351"/>
                <a:gd name="T61" fmla="*/ 450 h 450"/>
                <a:gd name="T62" fmla="*/ 292 w 351"/>
                <a:gd name="T63" fmla="*/ 426 h 450"/>
                <a:gd name="T64" fmla="*/ 282 w 351"/>
                <a:gd name="T65" fmla="*/ 399 h 450"/>
                <a:gd name="T66" fmla="*/ 280 w 351"/>
                <a:gd name="T67" fmla="*/ 396 h 450"/>
                <a:gd name="T68" fmla="*/ 280 w 351"/>
                <a:gd name="T69" fmla="*/ 395 h 450"/>
                <a:gd name="T70" fmla="*/ 279 w 351"/>
                <a:gd name="T71" fmla="*/ 392 h 450"/>
                <a:gd name="T72" fmla="*/ 279 w 351"/>
                <a:gd name="T73" fmla="*/ 392 h 450"/>
                <a:gd name="T74" fmla="*/ 278 w 351"/>
                <a:gd name="T75" fmla="*/ 385 h 450"/>
                <a:gd name="T76" fmla="*/ 278 w 351"/>
                <a:gd name="T77" fmla="*/ 385 h 450"/>
                <a:gd name="T78" fmla="*/ 278 w 351"/>
                <a:gd name="T79" fmla="*/ 382 h 450"/>
                <a:gd name="T80" fmla="*/ 278 w 351"/>
                <a:gd name="T81" fmla="*/ 382 h 450"/>
                <a:gd name="T82" fmla="*/ 280 w 351"/>
                <a:gd name="T83" fmla="*/ 372 h 450"/>
                <a:gd name="T84" fmla="*/ 281 w 351"/>
                <a:gd name="T85" fmla="*/ 370 h 450"/>
                <a:gd name="T86" fmla="*/ 281 w 351"/>
                <a:gd name="T87" fmla="*/ 369 h 450"/>
                <a:gd name="T88" fmla="*/ 282 w 351"/>
                <a:gd name="T89" fmla="*/ 367 h 450"/>
                <a:gd name="T90" fmla="*/ 286 w 351"/>
                <a:gd name="T91" fmla="*/ 362 h 450"/>
                <a:gd name="T92" fmla="*/ 308 w 351"/>
                <a:gd name="T93" fmla="*/ 351 h 450"/>
                <a:gd name="T94" fmla="*/ 308 w 351"/>
                <a:gd name="T95" fmla="*/ 351 h 450"/>
                <a:gd name="T96" fmla="*/ 312 w 351"/>
                <a:gd name="T97" fmla="*/ 351 h 450"/>
                <a:gd name="T98" fmla="*/ 313 w 351"/>
                <a:gd name="T99" fmla="*/ 351 h 450"/>
                <a:gd name="T100" fmla="*/ 316 w 351"/>
                <a:gd name="T101" fmla="*/ 351 h 450"/>
                <a:gd name="T102" fmla="*/ 351 w 351"/>
                <a:gd name="T103" fmla="*/ 351 h 450"/>
                <a:gd name="T104" fmla="*/ 0 w 351"/>
                <a:gd name="T10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1" h="450">
                  <a:moveTo>
                    <a:pt x="0" y="0"/>
                  </a:moveTo>
                  <a:cubicBezTo>
                    <a:pt x="0" y="41"/>
                    <a:pt x="0" y="41"/>
                    <a:pt x="0" y="41"/>
                  </a:cubicBezTo>
                  <a:cubicBezTo>
                    <a:pt x="1" y="45"/>
                    <a:pt x="2" y="50"/>
                    <a:pt x="6" y="52"/>
                  </a:cubicBezTo>
                  <a:cubicBezTo>
                    <a:pt x="10" y="54"/>
                    <a:pt x="14" y="54"/>
                    <a:pt x="19" y="52"/>
                  </a:cubicBezTo>
                  <a:cubicBezTo>
                    <a:pt x="22" y="50"/>
                    <a:pt x="45" y="39"/>
                    <a:pt x="57" y="39"/>
                  </a:cubicBezTo>
                  <a:cubicBezTo>
                    <a:pt x="83" y="39"/>
                    <a:pt x="103" y="63"/>
                    <a:pt x="103" y="92"/>
                  </a:cubicBezTo>
                  <a:cubicBezTo>
                    <a:pt x="103" y="121"/>
                    <a:pt x="83" y="144"/>
                    <a:pt x="57" y="144"/>
                  </a:cubicBezTo>
                  <a:cubicBezTo>
                    <a:pt x="45" y="144"/>
                    <a:pt x="22" y="133"/>
                    <a:pt x="19" y="132"/>
                  </a:cubicBezTo>
                  <a:cubicBezTo>
                    <a:pt x="14" y="129"/>
                    <a:pt x="10" y="129"/>
                    <a:pt x="6" y="131"/>
                  </a:cubicBezTo>
                  <a:cubicBezTo>
                    <a:pt x="2" y="134"/>
                    <a:pt x="0" y="139"/>
                    <a:pt x="0" y="143"/>
                  </a:cubicBezTo>
                  <a:cubicBezTo>
                    <a:pt x="0" y="174"/>
                    <a:pt x="0" y="174"/>
                    <a:pt x="0" y="174"/>
                  </a:cubicBezTo>
                  <a:cubicBezTo>
                    <a:pt x="95" y="180"/>
                    <a:pt x="171" y="256"/>
                    <a:pt x="177" y="351"/>
                  </a:cubicBezTo>
                  <a:cubicBezTo>
                    <a:pt x="215" y="351"/>
                    <a:pt x="215" y="351"/>
                    <a:pt x="215" y="351"/>
                  </a:cubicBezTo>
                  <a:cubicBezTo>
                    <a:pt x="224" y="352"/>
                    <a:pt x="232" y="356"/>
                    <a:pt x="237" y="362"/>
                  </a:cubicBezTo>
                  <a:cubicBezTo>
                    <a:pt x="239" y="363"/>
                    <a:pt x="241" y="365"/>
                    <a:pt x="242" y="367"/>
                  </a:cubicBezTo>
                  <a:cubicBezTo>
                    <a:pt x="242" y="368"/>
                    <a:pt x="243" y="369"/>
                    <a:pt x="243" y="369"/>
                  </a:cubicBezTo>
                  <a:cubicBezTo>
                    <a:pt x="243" y="370"/>
                    <a:pt x="243" y="370"/>
                    <a:pt x="243" y="370"/>
                  </a:cubicBezTo>
                  <a:cubicBezTo>
                    <a:pt x="244" y="370"/>
                    <a:pt x="244" y="371"/>
                    <a:pt x="244" y="372"/>
                  </a:cubicBezTo>
                  <a:cubicBezTo>
                    <a:pt x="244" y="372"/>
                    <a:pt x="244" y="372"/>
                    <a:pt x="244" y="372"/>
                  </a:cubicBezTo>
                  <a:cubicBezTo>
                    <a:pt x="244" y="372"/>
                    <a:pt x="244" y="372"/>
                    <a:pt x="244" y="372"/>
                  </a:cubicBezTo>
                  <a:cubicBezTo>
                    <a:pt x="245" y="375"/>
                    <a:pt x="246" y="378"/>
                    <a:pt x="246" y="382"/>
                  </a:cubicBezTo>
                  <a:cubicBezTo>
                    <a:pt x="246" y="382"/>
                    <a:pt x="246" y="382"/>
                    <a:pt x="246" y="382"/>
                  </a:cubicBezTo>
                  <a:cubicBezTo>
                    <a:pt x="246" y="383"/>
                    <a:pt x="246" y="384"/>
                    <a:pt x="246" y="385"/>
                  </a:cubicBezTo>
                  <a:cubicBezTo>
                    <a:pt x="246" y="385"/>
                    <a:pt x="246" y="385"/>
                    <a:pt x="246" y="385"/>
                  </a:cubicBezTo>
                  <a:cubicBezTo>
                    <a:pt x="246" y="387"/>
                    <a:pt x="245" y="390"/>
                    <a:pt x="245" y="392"/>
                  </a:cubicBezTo>
                  <a:cubicBezTo>
                    <a:pt x="245" y="392"/>
                    <a:pt x="245" y="392"/>
                    <a:pt x="245" y="392"/>
                  </a:cubicBezTo>
                  <a:cubicBezTo>
                    <a:pt x="244" y="393"/>
                    <a:pt x="244" y="394"/>
                    <a:pt x="244" y="395"/>
                  </a:cubicBezTo>
                  <a:cubicBezTo>
                    <a:pt x="244" y="396"/>
                    <a:pt x="243" y="396"/>
                    <a:pt x="243" y="396"/>
                  </a:cubicBezTo>
                  <a:cubicBezTo>
                    <a:pt x="243" y="397"/>
                    <a:pt x="242" y="398"/>
                    <a:pt x="242" y="399"/>
                  </a:cubicBezTo>
                  <a:cubicBezTo>
                    <a:pt x="237" y="408"/>
                    <a:pt x="232" y="421"/>
                    <a:pt x="232" y="426"/>
                  </a:cubicBezTo>
                  <a:cubicBezTo>
                    <a:pt x="232" y="439"/>
                    <a:pt x="246" y="450"/>
                    <a:pt x="262" y="450"/>
                  </a:cubicBezTo>
                  <a:cubicBezTo>
                    <a:pt x="278" y="450"/>
                    <a:pt x="292" y="439"/>
                    <a:pt x="292" y="426"/>
                  </a:cubicBezTo>
                  <a:cubicBezTo>
                    <a:pt x="292" y="421"/>
                    <a:pt x="286" y="408"/>
                    <a:pt x="282" y="399"/>
                  </a:cubicBezTo>
                  <a:cubicBezTo>
                    <a:pt x="281" y="398"/>
                    <a:pt x="281" y="397"/>
                    <a:pt x="280" y="396"/>
                  </a:cubicBezTo>
                  <a:cubicBezTo>
                    <a:pt x="280" y="396"/>
                    <a:pt x="280" y="396"/>
                    <a:pt x="280" y="395"/>
                  </a:cubicBezTo>
                  <a:cubicBezTo>
                    <a:pt x="280" y="394"/>
                    <a:pt x="279" y="393"/>
                    <a:pt x="279" y="392"/>
                  </a:cubicBezTo>
                  <a:cubicBezTo>
                    <a:pt x="279" y="392"/>
                    <a:pt x="279" y="392"/>
                    <a:pt x="279" y="392"/>
                  </a:cubicBezTo>
                  <a:cubicBezTo>
                    <a:pt x="278" y="390"/>
                    <a:pt x="278" y="387"/>
                    <a:pt x="278" y="385"/>
                  </a:cubicBezTo>
                  <a:cubicBezTo>
                    <a:pt x="278" y="385"/>
                    <a:pt x="278" y="385"/>
                    <a:pt x="278" y="385"/>
                  </a:cubicBezTo>
                  <a:cubicBezTo>
                    <a:pt x="278" y="384"/>
                    <a:pt x="278" y="383"/>
                    <a:pt x="278" y="382"/>
                  </a:cubicBezTo>
                  <a:cubicBezTo>
                    <a:pt x="278" y="382"/>
                    <a:pt x="278" y="382"/>
                    <a:pt x="278" y="382"/>
                  </a:cubicBezTo>
                  <a:cubicBezTo>
                    <a:pt x="278" y="378"/>
                    <a:pt x="278" y="375"/>
                    <a:pt x="280" y="372"/>
                  </a:cubicBezTo>
                  <a:cubicBezTo>
                    <a:pt x="280" y="371"/>
                    <a:pt x="280" y="370"/>
                    <a:pt x="281" y="370"/>
                  </a:cubicBezTo>
                  <a:cubicBezTo>
                    <a:pt x="281" y="370"/>
                    <a:pt x="281" y="370"/>
                    <a:pt x="281" y="369"/>
                  </a:cubicBezTo>
                  <a:cubicBezTo>
                    <a:pt x="281" y="369"/>
                    <a:pt x="281" y="368"/>
                    <a:pt x="282" y="367"/>
                  </a:cubicBezTo>
                  <a:cubicBezTo>
                    <a:pt x="283" y="365"/>
                    <a:pt x="285" y="363"/>
                    <a:pt x="286" y="362"/>
                  </a:cubicBezTo>
                  <a:cubicBezTo>
                    <a:pt x="292" y="356"/>
                    <a:pt x="299" y="353"/>
                    <a:pt x="308" y="351"/>
                  </a:cubicBezTo>
                  <a:cubicBezTo>
                    <a:pt x="308" y="351"/>
                    <a:pt x="308" y="351"/>
                    <a:pt x="308" y="351"/>
                  </a:cubicBezTo>
                  <a:cubicBezTo>
                    <a:pt x="312" y="351"/>
                    <a:pt x="312" y="351"/>
                    <a:pt x="312" y="351"/>
                  </a:cubicBezTo>
                  <a:cubicBezTo>
                    <a:pt x="313" y="351"/>
                    <a:pt x="313" y="351"/>
                    <a:pt x="313" y="351"/>
                  </a:cubicBezTo>
                  <a:cubicBezTo>
                    <a:pt x="316" y="351"/>
                    <a:pt x="316" y="351"/>
                    <a:pt x="316" y="351"/>
                  </a:cubicBezTo>
                  <a:cubicBezTo>
                    <a:pt x="351" y="351"/>
                    <a:pt x="351" y="351"/>
                    <a:pt x="351" y="351"/>
                  </a:cubicBezTo>
                  <a:cubicBezTo>
                    <a:pt x="345" y="160"/>
                    <a:pt x="191" y="6"/>
                    <a:pt x="0" y="0"/>
                  </a:cubicBezTo>
                  <a:close/>
                </a:path>
              </a:pathLst>
            </a:cu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prstClr val="white"/>
                </a:solidFill>
              </a:endParaRPr>
            </a:p>
          </p:txBody>
        </p:sp>
        <p:sp>
          <p:nvSpPr>
            <p:cNvPr id="7" name="矩形 6"/>
            <p:cNvSpPr/>
            <p:nvPr/>
          </p:nvSpPr>
          <p:spPr>
            <a:xfrm>
              <a:off x="6836109" y="3030744"/>
              <a:ext cx="731905" cy="480620"/>
            </a:xfrm>
            <a:prstGeom prst="rect">
              <a:avLst/>
            </a:prstGeom>
            <a:effectLst/>
          </p:spPr>
          <p:txBody>
            <a:bodyPr wrap="square">
              <a:spAutoFit/>
            </a:bodyPr>
            <a:lstStyle/>
            <a:p>
              <a:pPr algn="ctr"/>
              <a:r>
                <a:rPr lang="en-US" altLang="zh-CN" sz="3200" dirty="0">
                  <a:solidFill>
                    <a:schemeClr val="bg1"/>
                  </a:solidFill>
                  <a:latin typeface="Haettenschweiler" panose="020B0706040902060204" pitchFamily="34" charset="0"/>
                  <a:ea typeface="微软雅黑" panose="020B0503020204020204" charset="-122"/>
                </a:rPr>
                <a:t>02</a:t>
              </a:r>
              <a:endParaRPr lang="zh-CN" altLang="en-US" sz="3200" dirty="0">
                <a:solidFill>
                  <a:schemeClr val="bg1"/>
                </a:solidFill>
                <a:latin typeface="Haettenschweiler" panose="020B0706040902060204" pitchFamily="34" charset="0"/>
                <a:ea typeface="微软雅黑" panose="020B0503020204020204" charset="-122"/>
              </a:endParaRPr>
            </a:p>
          </p:txBody>
        </p:sp>
      </p:grpSp>
      <p:grpSp>
        <p:nvGrpSpPr>
          <p:cNvPr id="8" name="组合 7"/>
          <p:cNvGrpSpPr/>
          <p:nvPr/>
        </p:nvGrpSpPr>
        <p:grpSpPr>
          <a:xfrm>
            <a:off x="5625894" y="4029318"/>
            <a:ext cx="2342025" cy="1805773"/>
            <a:chOff x="5611146" y="4176802"/>
            <a:chExt cx="2342025" cy="1805773"/>
          </a:xfrm>
        </p:grpSpPr>
        <p:sp>
          <p:nvSpPr>
            <p:cNvPr id="9" name="Freeform 5"/>
            <p:cNvSpPr/>
            <p:nvPr/>
          </p:nvSpPr>
          <p:spPr bwMode="auto">
            <a:xfrm>
              <a:off x="5611146" y="4176802"/>
              <a:ext cx="2342025" cy="1805773"/>
            </a:xfrm>
            <a:custGeom>
              <a:avLst/>
              <a:gdLst>
                <a:gd name="T0" fmla="*/ 414 w 455"/>
                <a:gd name="T1" fmla="*/ 0 h 351"/>
                <a:gd name="T2" fmla="*/ 404 w 455"/>
                <a:gd name="T3" fmla="*/ 6 h 351"/>
                <a:gd name="T4" fmla="*/ 404 w 455"/>
                <a:gd name="T5" fmla="*/ 18 h 351"/>
                <a:gd name="T6" fmla="*/ 416 w 455"/>
                <a:gd name="T7" fmla="*/ 54 h 351"/>
                <a:gd name="T8" fmla="*/ 366 w 455"/>
                <a:gd name="T9" fmla="*/ 98 h 351"/>
                <a:gd name="T10" fmla="*/ 315 w 455"/>
                <a:gd name="T11" fmla="*/ 54 h 351"/>
                <a:gd name="T12" fmla="*/ 327 w 455"/>
                <a:gd name="T13" fmla="*/ 18 h 351"/>
                <a:gd name="T14" fmla="*/ 328 w 455"/>
                <a:gd name="T15" fmla="*/ 6 h 351"/>
                <a:gd name="T16" fmla="*/ 317 w 455"/>
                <a:gd name="T17" fmla="*/ 0 h 351"/>
                <a:gd name="T18" fmla="*/ 281 w 455"/>
                <a:gd name="T19" fmla="*/ 0 h 351"/>
                <a:gd name="T20" fmla="*/ 104 w 455"/>
                <a:gd name="T21" fmla="*/ 177 h 351"/>
                <a:gd name="T22" fmla="*/ 104 w 455"/>
                <a:gd name="T23" fmla="*/ 215 h 351"/>
                <a:gd name="T24" fmla="*/ 93 w 455"/>
                <a:gd name="T25" fmla="*/ 238 h 351"/>
                <a:gd name="T26" fmla="*/ 87 w 455"/>
                <a:gd name="T27" fmla="*/ 243 h 351"/>
                <a:gd name="T28" fmla="*/ 83 w 455"/>
                <a:gd name="T29" fmla="*/ 245 h 351"/>
                <a:gd name="T30" fmla="*/ 54 w 455"/>
                <a:gd name="T31" fmla="*/ 243 h 351"/>
                <a:gd name="T32" fmla="*/ 26 w 455"/>
                <a:gd name="T33" fmla="*/ 232 h 351"/>
                <a:gd name="T34" fmla="*/ 0 w 455"/>
                <a:gd name="T35" fmla="*/ 264 h 351"/>
                <a:gd name="T36" fmla="*/ 26 w 455"/>
                <a:gd name="T37" fmla="*/ 296 h 351"/>
                <a:gd name="T38" fmla="*/ 54 w 455"/>
                <a:gd name="T39" fmla="*/ 286 h 351"/>
                <a:gd name="T40" fmla="*/ 83 w 455"/>
                <a:gd name="T41" fmla="*/ 284 h 351"/>
                <a:gd name="T42" fmla="*/ 87 w 455"/>
                <a:gd name="T43" fmla="*/ 286 h 351"/>
                <a:gd name="T44" fmla="*/ 93 w 455"/>
                <a:gd name="T45" fmla="*/ 291 h 351"/>
                <a:gd name="T46" fmla="*/ 104 w 455"/>
                <a:gd name="T47" fmla="*/ 312 h 351"/>
                <a:gd name="T48" fmla="*/ 104 w 455"/>
                <a:gd name="T49" fmla="*/ 313 h 351"/>
                <a:gd name="T50" fmla="*/ 104 w 455"/>
                <a:gd name="T51" fmla="*/ 317 h 351"/>
                <a:gd name="T52" fmla="*/ 104 w 455"/>
                <a:gd name="T53" fmla="*/ 318 h 351"/>
                <a:gd name="T54" fmla="*/ 104 w 455"/>
                <a:gd name="T55" fmla="*/ 321 h 351"/>
                <a:gd name="T56" fmla="*/ 104 w 455"/>
                <a:gd name="T57" fmla="*/ 351 h 351"/>
                <a:gd name="T58" fmla="*/ 455 w 455"/>
                <a:gd name="T59" fmla="*/ 0 h 351"/>
                <a:gd name="T60" fmla="*/ 414 w 455"/>
                <a:gd name="T61"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5" h="351">
                  <a:moveTo>
                    <a:pt x="414" y="0"/>
                  </a:moveTo>
                  <a:cubicBezTo>
                    <a:pt x="410" y="1"/>
                    <a:pt x="406" y="2"/>
                    <a:pt x="404" y="6"/>
                  </a:cubicBezTo>
                  <a:cubicBezTo>
                    <a:pt x="401" y="10"/>
                    <a:pt x="403" y="15"/>
                    <a:pt x="404" y="18"/>
                  </a:cubicBezTo>
                  <a:cubicBezTo>
                    <a:pt x="406" y="20"/>
                    <a:pt x="416" y="42"/>
                    <a:pt x="416" y="54"/>
                  </a:cubicBezTo>
                  <a:cubicBezTo>
                    <a:pt x="416" y="78"/>
                    <a:pt x="394" y="98"/>
                    <a:pt x="366" y="98"/>
                  </a:cubicBezTo>
                  <a:cubicBezTo>
                    <a:pt x="338" y="98"/>
                    <a:pt x="315" y="78"/>
                    <a:pt x="315" y="54"/>
                  </a:cubicBezTo>
                  <a:cubicBezTo>
                    <a:pt x="315" y="42"/>
                    <a:pt x="326" y="20"/>
                    <a:pt x="327" y="18"/>
                  </a:cubicBezTo>
                  <a:cubicBezTo>
                    <a:pt x="329" y="15"/>
                    <a:pt x="331" y="10"/>
                    <a:pt x="328" y="6"/>
                  </a:cubicBezTo>
                  <a:cubicBezTo>
                    <a:pt x="326" y="2"/>
                    <a:pt x="320" y="0"/>
                    <a:pt x="317" y="0"/>
                  </a:cubicBezTo>
                  <a:cubicBezTo>
                    <a:pt x="281" y="0"/>
                    <a:pt x="281" y="0"/>
                    <a:pt x="281" y="0"/>
                  </a:cubicBezTo>
                  <a:cubicBezTo>
                    <a:pt x="275" y="95"/>
                    <a:pt x="199" y="172"/>
                    <a:pt x="104" y="177"/>
                  </a:cubicBezTo>
                  <a:cubicBezTo>
                    <a:pt x="104" y="215"/>
                    <a:pt x="104" y="215"/>
                    <a:pt x="104" y="215"/>
                  </a:cubicBezTo>
                  <a:cubicBezTo>
                    <a:pt x="103" y="224"/>
                    <a:pt x="99" y="232"/>
                    <a:pt x="93" y="238"/>
                  </a:cubicBezTo>
                  <a:cubicBezTo>
                    <a:pt x="92" y="240"/>
                    <a:pt x="89" y="241"/>
                    <a:pt x="87" y="243"/>
                  </a:cubicBezTo>
                  <a:cubicBezTo>
                    <a:pt x="86" y="243"/>
                    <a:pt x="84" y="244"/>
                    <a:pt x="83" y="245"/>
                  </a:cubicBezTo>
                  <a:cubicBezTo>
                    <a:pt x="74" y="248"/>
                    <a:pt x="64" y="248"/>
                    <a:pt x="54" y="243"/>
                  </a:cubicBezTo>
                  <a:cubicBezTo>
                    <a:pt x="45" y="238"/>
                    <a:pt x="30" y="232"/>
                    <a:pt x="26" y="232"/>
                  </a:cubicBezTo>
                  <a:cubicBezTo>
                    <a:pt x="12" y="232"/>
                    <a:pt x="0" y="247"/>
                    <a:pt x="0" y="264"/>
                  </a:cubicBezTo>
                  <a:cubicBezTo>
                    <a:pt x="0" y="282"/>
                    <a:pt x="12" y="296"/>
                    <a:pt x="26" y="296"/>
                  </a:cubicBezTo>
                  <a:cubicBezTo>
                    <a:pt x="30" y="296"/>
                    <a:pt x="45" y="291"/>
                    <a:pt x="54" y="286"/>
                  </a:cubicBezTo>
                  <a:cubicBezTo>
                    <a:pt x="64" y="281"/>
                    <a:pt x="74" y="280"/>
                    <a:pt x="83" y="284"/>
                  </a:cubicBezTo>
                  <a:cubicBezTo>
                    <a:pt x="84" y="284"/>
                    <a:pt x="86" y="285"/>
                    <a:pt x="87" y="286"/>
                  </a:cubicBezTo>
                  <a:cubicBezTo>
                    <a:pt x="89" y="287"/>
                    <a:pt x="92" y="289"/>
                    <a:pt x="93" y="291"/>
                  </a:cubicBezTo>
                  <a:cubicBezTo>
                    <a:pt x="99" y="296"/>
                    <a:pt x="102" y="304"/>
                    <a:pt x="104" y="312"/>
                  </a:cubicBezTo>
                  <a:cubicBezTo>
                    <a:pt x="104" y="313"/>
                    <a:pt x="104" y="313"/>
                    <a:pt x="104" y="313"/>
                  </a:cubicBezTo>
                  <a:cubicBezTo>
                    <a:pt x="104" y="317"/>
                    <a:pt x="104" y="317"/>
                    <a:pt x="104" y="317"/>
                  </a:cubicBezTo>
                  <a:cubicBezTo>
                    <a:pt x="104" y="318"/>
                    <a:pt x="104" y="318"/>
                    <a:pt x="104" y="318"/>
                  </a:cubicBezTo>
                  <a:cubicBezTo>
                    <a:pt x="104" y="321"/>
                    <a:pt x="104" y="321"/>
                    <a:pt x="104" y="321"/>
                  </a:cubicBezTo>
                  <a:cubicBezTo>
                    <a:pt x="104" y="351"/>
                    <a:pt x="104" y="351"/>
                    <a:pt x="104" y="351"/>
                  </a:cubicBezTo>
                  <a:cubicBezTo>
                    <a:pt x="295" y="346"/>
                    <a:pt x="449" y="191"/>
                    <a:pt x="455" y="0"/>
                  </a:cubicBezTo>
                  <a:lnTo>
                    <a:pt x="414" y="0"/>
                  </a:lnTo>
                  <a:close/>
                </a:path>
              </a:pathLst>
            </a:custGeom>
            <a:solidFill>
              <a:srgbClr val="247CA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prstClr val="white"/>
                </a:solidFill>
              </a:endParaRPr>
            </a:p>
          </p:txBody>
        </p:sp>
        <p:sp>
          <p:nvSpPr>
            <p:cNvPr id="10" name="矩形 9"/>
            <p:cNvSpPr/>
            <p:nvPr/>
          </p:nvSpPr>
          <p:spPr>
            <a:xfrm>
              <a:off x="6636256" y="4950447"/>
              <a:ext cx="731905" cy="480620"/>
            </a:xfrm>
            <a:prstGeom prst="rect">
              <a:avLst/>
            </a:prstGeom>
            <a:effectLst/>
          </p:spPr>
          <p:txBody>
            <a:bodyPr wrap="square">
              <a:spAutoFit/>
            </a:bodyPr>
            <a:lstStyle/>
            <a:p>
              <a:pPr algn="ctr"/>
              <a:r>
                <a:rPr lang="en-US" altLang="zh-CN" sz="3200" dirty="0">
                  <a:solidFill>
                    <a:schemeClr val="bg1"/>
                  </a:solidFill>
                  <a:latin typeface="Haettenschweiler" panose="020B0706040902060204" pitchFamily="34" charset="0"/>
                  <a:ea typeface="微软雅黑" panose="020B0503020204020204" charset="-122"/>
                </a:rPr>
                <a:t>03</a:t>
              </a:r>
              <a:endParaRPr lang="zh-CN" altLang="en-US" sz="3200" dirty="0">
                <a:solidFill>
                  <a:schemeClr val="bg1"/>
                </a:solidFill>
                <a:latin typeface="Haettenschweiler" panose="020B0706040902060204" pitchFamily="34" charset="0"/>
                <a:ea typeface="微软雅黑" panose="020B0503020204020204" charset="-122"/>
              </a:endParaRPr>
            </a:p>
          </p:txBody>
        </p:sp>
      </p:grpSp>
      <p:grpSp>
        <p:nvGrpSpPr>
          <p:cNvPr id="11" name="组合 10"/>
          <p:cNvGrpSpPr/>
          <p:nvPr/>
        </p:nvGrpSpPr>
        <p:grpSpPr>
          <a:xfrm>
            <a:off x="4246774" y="3493066"/>
            <a:ext cx="1807078" cy="2342025"/>
            <a:chOff x="4232026" y="3640550"/>
            <a:chExt cx="1807078" cy="2342025"/>
          </a:xfrm>
        </p:grpSpPr>
        <p:sp>
          <p:nvSpPr>
            <p:cNvPr id="12" name="Freeform 8"/>
            <p:cNvSpPr/>
            <p:nvPr/>
          </p:nvSpPr>
          <p:spPr bwMode="auto">
            <a:xfrm>
              <a:off x="4232026" y="3640550"/>
              <a:ext cx="1807078" cy="2342025"/>
            </a:xfrm>
            <a:custGeom>
              <a:avLst/>
              <a:gdLst>
                <a:gd name="T0" fmla="*/ 294 w 351"/>
                <a:gd name="T1" fmla="*/ 316 h 455"/>
                <a:gd name="T2" fmla="*/ 332 w 351"/>
                <a:gd name="T3" fmla="*/ 328 h 455"/>
                <a:gd name="T4" fmla="*/ 344 w 351"/>
                <a:gd name="T5" fmla="*/ 329 h 455"/>
                <a:gd name="T6" fmla="*/ 351 w 351"/>
                <a:gd name="T7" fmla="*/ 317 h 455"/>
                <a:gd name="T8" fmla="*/ 351 w 351"/>
                <a:gd name="T9" fmla="*/ 281 h 455"/>
                <a:gd name="T10" fmla="*/ 174 w 351"/>
                <a:gd name="T11" fmla="*/ 104 h 455"/>
                <a:gd name="T12" fmla="*/ 135 w 351"/>
                <a:gd name="T13" fmla="*/ 104 h 455"/>
                <a:gd name="T14" fmla="*/ 107 w 351"/>
                <a:gd name="T15" fmla="*/ 87 h 455"/>
                <a:gd name="T16" fmla="*/ 105 w 351"/>
                <a:gd name="T17" fmla="*/ 83 h 455"/>
                <a:gd name="T18" fmla="*/ 107 w 351"/>
                <a:gd name="T19" fmla="*/ 54 h 455"/>
                <a:gd name="T20" fmla="*/ 118 w 351"/>
                <a:gd name="T21" fmla="*/ 26 h 455"/>
                <a:gd name="T22" fmla="*/ 86 w 351"/>
                <a:gd name="T23" fmla="*/ 0 h 455"/>
                <a:gd name="T24" fmla="*/ 54 w 351"/>
                <a:gd name="T25" fmla="*/ 26 h 455"/>
                <a:gd name="T26" fmla="*/ 64 w 351"/>
                <a:gd name="T27" fmla="*/ 54 h 455"/>
                <a:gd name="T28" fmla="*/ 66 w 351"/>
                <a:gd name="T29" fmla="*/ 83 h 455"/>
                <a:gd name="T30" fmla="*/ 64 w 351"/>
                <a:gd name="T31" fmla="*/ 87 h 455"/>
                <a:gd name="T32" fmla="*/ 37 w 351"/>
                <a:gd name="T33" fmla="*/ 104 h 455"/>
                <a:gd name="T34" fmla="*/ 37 w 351"/>
                <a:gd name="T35" fmla="*/ 104 h 455"/>
                <a:gd name="T36" fmla="*/ 32 w 351"/>
                <a:gd name="T37" fmla="*/ 104 h 455"/>
                <a:gd name="T38" fmla="*/ 31 w 351"/>
                <a:gd name="T39" fmla="*/ 104 h 455"/>
                <a:gd name="T40" fmla="*/ 29 w 351"/>
                <a:gd name="T41" fmla="*/ 104 h 455"/>
                <a:gd name="T42" fmla="*/ 0 w 351"/>
                <a:gd name="T43" fmla="*/ 104 h 455"/>
                <a:gd name="T44" fmla="*/ 351 w 351"/>
                <a:gd name="T45" fmla="*/ 455 h 455"/>
                <a:gd name="T46" fmla="*/ 351 w 351"/>
                <a:gd name="T47" fmla="*/ 419 h 455"/>
                <a:gd name="T48" fmla="*/ 344 w 351"/>
                <a:gd name="T49" fmla="*/ 407 h 455"/>
                <a:gd name="T50" fmla="*/ 332 w 351"/>
                <a:gd name="T51" fmla="*/ 408 h 455"/>
                <a:gd name="T52" fmla="*/ 294 w 351"/>
                <a:gd name="T53" fmla="*/ 421 h 455"/>
                <a:gd name="T54" fmla="*/ 247 w 351"/>
                <a:gd name="T55" fmla="*/ 368 h 455"/>
                <a:gd name="T56" fmla="*/ 294 w 351"/>
                <a:gd name="T57" fmla="*/ 31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1" h="455">
                  <a:moveTo>
                    <a:pt x="294" y="316"/>
                  </a:moveTo>
                  <a:cubicBezTo>
                    <a:pt x="306" y="316"/>
                    <a:pt x="329" y="327"/>
                    <a:pt x="332" y="328"/>
                  </a:cubicBezTo>
                  <a:cubicBezTo>
                    <a:pt x="336" y="331"/>
                    <a:pt x="341" y="331"/>
                    <a:pt x="344" y="329"/>
                  </a:cubicBezTo>
                  <a:cubicBezTo>
                    <a:pt x="349" y="326"/>
                    <a:pt x="351" y="320"/>
                    <a:pt x="351" y="317"/>
                  </a:cubicBezTo>
                  <a:cubicBezTo>
                    <a:pt x="351" y="281"/>
                    <a:pt x="351" y="281"/>
                    <a:pt x="351" y="281"/>
                  </a:cubicBezTo>
                  <a:cubicBezTo>
                    <a:pt x="256" y="276"/>
                    <a:pt x="179" y="199"/>
                    <a:pt x="174" y="104"/>
                  </a:cubicBezTo>
                  <a:cubicBezTo>
                    <a:pt x="135" y="104"/>
                    <a:pt x="135" y="104"/>
                    <a:pt x="135" y="104"/>
                  </a:cubicBezTo>
                  <a:cubicBezTo>
                    <a:pt x="123" y="102"/>
                    <a:pt x="113" y="96"/>
                    <a:pt x="107" y="87"/>
                  </a:cubicBezTo>
                  <a:cubicBezTo>
                    <a:pt x="106" y="86"/>
                    <a:pt x="106" y="85"/>
                    <a:pt x="105" y="83"/>
                  </a:cubicBezTo>
                  <a:cubicBezTo>
                    <a:pt x="102" y="74"/>
                    <a:pt x="102" y="64"/>
                    <a:pt x="107" y="54"/>
                  </a:cubicBezTo>
                  <a:cubicBezTo>
                    <a:pt x="112" y="45"/>
                    <a:pt x="118" y="31"/>
                    <a:pt x="118" y="26"/>
                  </a:cubicBezTo>
                  <a:cubicBezTo>
                    <a:pt x="118" y="12"/>
                    <a:pt x="103" y="0"/>
                    <a:pt x="86" y="0"/>
                  </a:cubicBezTo>
                  <a:cubicBezTo>
                    <a:pt x="68" y="0"/>
                    <a:pt x="54" y="12"/>
                    <a:pt x="54" y="26"/>
                  </a:cubicBezTo>
                  <a:cubicBezTo>
                    <a:pt x="54" y="31"/>
                    <a:pt x="59" y="45"/>
                    <a:pt x="64" y="54"/>
                  </a:cubicBezTo>
                  <a:cubicBezTo>
                    <a:pt x="69" y="64"/>
                    <a:pt x="70" y="74"/>
                    <a:pt x="66" y="83"/>
                  </a:cubicBezTo>
                  <a:cubicBezTo>
                    <a:pt x="66" y="85"/>
                    <a:pt x="65" y="86"/>
                    <a:pt x="64" y="87"/>
                  </a:cubicBezTo>
                  <a:cubicBezTo>
                    <a:pt x="59" y="96"/>
                    <a:pt x="49" y="102"/>
                    <a:pt x="37" y="104"/>
                  </a:cubicBezTo>
                  <a:cubicBezTo>
                    <a:pt x="37" y="104"/>
                    <a:pt x="37" y="104"/>
                    <a:pt x="37" y="104"/>
                  </a:cubicBezTo>
                  <a:cubicBezTo>
                    <a:pt x="32" y="104"/>
                    <a:pt x="32" y="104"/>
                    <a:pt x="32" y="104"/>
                  </a:cubicBezTo>
                  <a:cubicBezTo>
                    <a:pt x="31" y="104"/>
                    <a:pt x="31" y="104"/>
                    <a:pt x="31" y="104"/>
                  </a:cubicBezTo>
                  <a:cubicBezTo>
                    <a:pt x="29" y="104"/>
                    <a:pt x="29" y="104"/>
                    <a:pt x="29" y="104"/>
                  </a:cubicBezTo>
                  <a:cubicBezTo>
                    <a:pt x="0" y="104"/>
                    <a:pt x="0" y="104"/>
                    <a:pt x="0" y="104"/>
                  </a:cubicBezTo>
                  <a:cubicBezTo>
                    <a:pt x="5" y="295"/>
                    <a:pt x="160" y="450"/>
                    <a:pt x="351" y="455"/>
                  </a:cubicBezTo>
                  <a:cubicBezTo>
                    <a:pt x="351" y="419"/>
                    <a:pt x="351" y="419"/>
                    <a:pt x="351" y="419"/>
                  </a:cubicBezTo>
                  <a:cubicBezTo>
                    <a:pt x="350" y="415"/>
                    <a:pt x="349" y="410"/>
                    <a:pt x="344" y="407"/>
                  </a:cubicBezTo>
                  <a:cubicBezTo>
                    <a:pt x="341" y="405"/>
                    <a:pt x="336" y="406"/>
                    <a:pt x="332" y="408"/>
                  </a:cubicBezTo>
                  <a:cubicBezTo>
                    <a:pt x="329" y="409"/>
                    <a:pt x="306" y="421"/>
                    <a:pt x="294" y="421"/>
                  </a:cubicBezTo>
                  <a:cubicBezTo>
                    <a:pt x="268" y="421"/>
                    <a:pt x="247" y="397"/>
                    <a:pt x="247" y="368"/>
                  </a:cubicBezTo>
                  <a:cubicBezTo>
                    <a:pt x="247" y="339"/>
                    <a:pt x="268" y="316"/>
                    <a:pt x="294" y="316"/>
                  </a:cubicBezTo>
                  <a:close/>
                </a:path>
              </a:pathLst>
            </a:cu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sp>
          <p:nvSpPr>
            <p:cNvPr id="13" name="矩形 12"/>
            <p:cNvSpPr/>
            <p:nvPr/>
          </p:nvSpPr>
          <p:spPr>
            <a:xfrm>
              <a:off x="4576033" y="4686282"/>
              <a:ext cx="731905" cy="480620"/>
            </a:xfrm>
            <a:prstGeom prst="rect">
              <a:avLst/>
            </a:prstGeom>
            <a:effectLst/>
          </p:spPr>
          <p:txBody>
            <a:bodyPr wrap="square">
              <a:spAutoFit/>
            </a:bodyPr>
            <a:lstStyle/>
            <a:p>
              <a:pPr algn="ctr"/>
              <a:r>
                <a:rPr lang="en-US" altLang="zh-CN" sz="3200" dirty="0">
                  <a:solidFill>
                    <a:schemeClr val="bg1"/>
                  </a:solidFill>
                  <a:latin typeface="Haettenschweiler" panose="020B0706040902060204" pitchFamily="34" charset="0"/>
                  <a:ea typeface="微软雅黑" panose="020B0503020204020204" charset="-122"/>
                </a:rPr>
                <a:t>04</a:t>
              </a:r>
              <a:endParaRPr lang="zh-CN" altLang="en-US" sz="3200" dirty="0">
                <a:solidFill>
                  <a:schemeClr val="bg1"/>
                </a:solidFill>
                <a:latin typeface="Haettenschweiler" panose="020B0706040902060204" pitchFamily="34" charset="0"/>
                <a:ea typeface="微软雅黑" panose="020B0503020204020204" charset="-122"/>
              </a:endParaRPr>
            </a:p>
          </p:txBody>
        </p:sp>
      </p:grpSp>
      <p:sp>
        <p:nvSpPr>
          <p:cNvPr id="14" name="Freeform 26"/>
          <p:cNvSpPr>
            <a:spLocks noEditPoints="1"/>
          </p:cNvSpPr>
          <p:nvPr/>
        </p:nvSpPr>
        <p:spPr bwMode="auto">
          <a:xfrm>
            <a:off x="5818866" y="3704340"/>
            <a:ext cx="538194" cy="565445"/>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chemeClr val="bg1"/>
          </a:solidFill>
          <a:ln>
            <a:noFill/>
          </a:ln>
        </p:spPr>
        <p:txBody>
          <a:bodyPr vert="horz" wrap="square" lIns="91440" tIns="45720" rIns="91440" bIns="45720" numCol="1" anchor="t" anchorCtr="0" compatLnSpc="1"/>
          <a:lstStyle/>
          <a:p>
            <a:endParaRPr lang="zh-CN" altLang="en-US">
              <a:solidFill>
                <a:schemeClr val="accent2"/>
              </a:solidFill>
            </a:endParaRPr>
          </a:p>
        </p:txBody>
      </p:sp>
      <p:sp>
        <p:nvSpPr>
          <p:cNvPr id="15" name="文本框 14"/>
          <p:cNvSpPr txBox="1"/>
          <p:nvPr/>
        </p:nvSpPr>
        <p:spPr>
          <a:xfrm>
            <a:off x="956136" y="2278216"/>
            <a:ext cx="2339102" cy="1261884"/>
          </a:xfrm>
          <a:prstGeom prst="rect">
            <a:avLst/>
          </a:prstGeom>
          <a:noFill/>
          <a:effectLst/>
        </p:spPr>
        <p:txBody>
          <a:bodyPr wrap="none" rtlCol="0">
            <a:spAutoFit/>
          </a:bodyPr>
          <a:lstStyle/>
          <a:p>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endParaRPr lang="en-US" altLang="zh-CN" sz="3200" dirty="0">
              <a:solidFill>
                <a:schemeClr val="tx1">
                  <a:lumMod val="85000"/>
                  <a:lumOff val="15000"/>
                </a:schemeClr>
              </a:solidFill>
              <a:latin typeface="微软雅黑" panose="020B0503020204020204" charset="-122"/>
              <a:ea typeface="微软雅黑" panose="020B0503020204020204" charset="-122"/>
            </a:endParaRPr>
          </a:p>
        </p:txBody>
      </p:sp>
      <p:sp>
        <p:nvSpPr>
          <p:cNvPr id="16" name="文本框 15"/>
          <p:cNvSpPr txBox="1"/>
          <p:nvPr/>
        </p:nvSpPr>
        <p:spPr>
          <a:xfrm>
            <a:off x="956136" y="4627693"/>
            <a:ext cx="2339102" cy="1261884"/>
          </a:xfrm>
          <a:prstGeom prst="rect">
            <a:avLst/>
          </a:prstGeom>
          <a:noFill/>
          <a:effectLst/>
        </p:spPr>
        <p:txBody>
          <a:bodyPr wrap="none" rtlCol="0">
            <a:spAutoFit/>
          </a:bodyPr>
          <a:lstStyle/>
          <a:p>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endParaRPr lang="en-US" altLang="zh-CN" sz="3200" dirty="0">
              <a:solidFill>
                <a:schemeClr val="tx1">
                  <a:lumMod val="85000"/>
                  <a:lumOff val="15000"/>
                </a:schemeClr>
              </a:solidFill>
              <a:latin typeface="微软雅黑" panose="020B0503020204020204" charset="-122"/>
              <a:ea typeface="微软雅黑" panose="020B0503020204020204" charset="-122"/>
            </a:endParaRPr>
          </a:p>
        </p:txBody>
      </p:sp>
      <p:sp>
        <p:nvSpPr>
          <p:cNvPr id="17" name="文本框 16"/>
          <p:cNvSpPr txBox="1"/>
          <p:nvPr/>
        </p:nvSpPr>
        <p:spPr>
          <a:xfrm>
            <a:off x="8932485" y="2386743"/>
            <a:ext cx="2339102" cy="1261884"/>
          </a:xfrm>
          <a:prstGeom prst="rect">
            <a:avLst/>
          </a:prstGeom>
          <a:noFill/>
          <a:effectLst/>
        </p:spPr>
        <p:txBody>
          <a:bodyPr wrap="none" rtlCol="0">
            <a:spAutoFit/>
          </a:bodyPr>
          <a:lstStyle/>
          <a:p>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endParaRPr lang="en-US" altLang="zh-CN" sz="3200" dirty="0">
              <a:solidFill>
                <a:schemeClr val="tx1">
                  <a:lumMod val="85000"/>
                  <a:lumOff val="15000"/>
                </a:schemeClr>
              </a:solidFill>
              <a:latin typeface="微软雅黑" panose="020B0503020204020204" charset="-122"/>
              <a:ea typeface="微软雅黑" panose="020B0503020204020204" charset="-122"/>
            </a:endParaRPr>
          </a:p>
        </p:txBody>
      </p:sp>
      <p:sp>
        <p:nvSpPr>
          <p:cNvPr id="18" name="文本框 17"/>
          <p:cNvSpPr txBox="1"/>
          <p:nvPr/>
        </p:nvSpPr>
        <p:spPr>
          <a:xfrm>
            <a:off x="8932485" y="4736220"/>
            <a:ext cx="2339102" cy="1261884"/>
          </a:xfrm>
          <a:prstGeom prst="rect">
            <a:avLst/>
          </a:prstGeom>
          <a:noFill/>
          <a:effectLst/>
        </p:spPr>
        <p:txBody>
          <a:bodyPr wrap="none" rtlCol="0">
            <a:spAutoFit/>
          </a:bodyPr>
          <a:lstStyle/>
          <a:p>
            <a:r>
              <a:rPr lang="zh-CN" altLang="en-US" sz="2000" dirty="0">
                <a:solidFill>
                  <a:schemeClr val="bg1"/>
                </a:solidFill>
                <a:latin typeface="等线 Light" panose="02010600030101010101" pitchFamily="2" charset="-122"/>
                <a:ea typeface="等线 Light" panose="02010600030101010101" pitchFamily="2" charset="-122"/>
              </a:rPr>
              <a:t>单击此处输入标题</a:t>
            </a:r>
            <a:endParaRPr lang="en-US" altLang="zh-CN" sz="20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r>
              <a:rPr lang="zh-CN" altLang="en-US" sz="1200" dirty="0">
                <a:solidFill>
                  <a:schemeClr val="bg1"/>
                </a:solidFill>
                <a:latin typeface="等线 Light" panose="02010600030101010101" pitchFamily="2" charset="-122"/>
                <a:ea typeface="等线 Light" panose="02010600030101010101" pitchFamily="2" charset="-122"/>
              </a:rPr>
              <a:t>请在这里输入您的主要叙述内容</a:t>
            </a:r>
            <a:endParaRPr lang="en-US" altLang="zh-CN" sz="1200" dirty="0">
              <a:solidFill>
                <a:schemeClr val="bg1"/>
              </a:solidFill>
              <a:latin typeface="等线 Light" panose="02010600030101010101" pitchFamily="2" charset="-122"/>
              <a:ea typeface="等线 Light" panose="02010600030101010101" pitchFamily="2" charset="-122"/>
            </a:endParaRPr>
          </a:p>
          <a:p>
            <a:endParaRPr lang="en-US" altLang="zh-CN" sz="3200" dirty="0">
              <a:solidFill>
                <a:schemeClr val="tx1">
                  <a:lumMod val="85000"/>
                  <a:lumOff val="15000"/>
                </a:schemeClr>
              </a:solidFill>
              <a:latin typeface="微软雅黑" panose="020B0503020204020204" charset="-122"/>
              <a:ea typeface="微软雅黑" panose="020B0503020204020204" charset="-122"/>
            </a:endParaRPr>
          </a:p>
        </p:txBody>
      </p:sp>
      <p:sp>
        <p:nvSpPr>
          <p:cNvPr id="19"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20"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1"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23" name="音频 2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700374232"/>
      </p:ext>
    </p:extLst>
  </p:cSld>
  <p:clrMapOvr>
    <a:masterClrMapping/>
  </p:clrMapOvr>
  <mc:AlternateContent xmlns:mc="http://schemas.openxmlformats.org/markup-compatibility/2006" xmlns:p14="http://schemas.microsoft.com/office/powerpoint/2010/main">
    <mc:Choice Requires="p14">
      <p:transition spd="slow" p14:dur="1200" advTm="1624">
        <p:dissolve/>
      </p:transition>
    </mc:Choice>
    <mc:Fallback xmlns="">
      <p:transition spd="slow" advTm="1624">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par>
                                <p:cTn id="7" presetID="2" presetClass="entr" presetSubtype="9" decel="25300" fill="hold" nodeType="withEffect">
                                  <p:stCondLst>
                                    <p:cond delay="0"/>
                                  </p:stCondLst>
                                  <p:childTnLst>
                                    <p:set>
                                      <p:cBhvr>
                                        <p:cTn id="8" dur="1" fill="hold">
                                          <p:stCondLst>
                                            <p:cond delay="0"/>
                                          </p:stCondLst>
                                        </p:cTn>
                                        <p:tgtEl>
                                          <p:spTgt spid="2"/>
                                        </p:tgtEl>
                                        <p:attrNameLst>
                                          <p:attrName>style.visibility</p:attrName>
                                        </p:attrNameLst>
                                      </p:cBhvr>
                                      <p:to>
                                        <p:strVal val="visible"/>
                                      </p:to>
                                    </p:set>
                                    <p:anim calcmode="lin" valueType="num">
                                      <p:cBhvr additive="base">
                                        <p:cTn id="9" dur="750" fill="hold"/>
                                        <p:tgtEl>
                                          <p:spTgt spid="2"/>
                                        </p:tgtEl>
                                        <p:attrNameLst>
                                          <p:attrName>ppt_x</p:attrName>
                                        </p:attrNameLst>
                                      </p:cBhvr>
                                      <p:tavLst>
                                        <p:tav tm="0">
                                          <p:val>
                                            <p:strVal val="0-#ppt_w/2"/>
                                          </p:val>
                                        </p:tav>
                                        <p:tav tm="100000">
                                          <p:val>
                                            <p:strVal val="#ppt_x"/>
                                          </p:val>
                                        </p:tav>
                                      </p:tavLst>
                                    </p:anim>
                                    <p:anim calcmode="lin" valueType="num">
                                      <p:cBhvr additive="base">
                                        <p:cTn id="10" dur="750" fill="hold"/>
                                        <p:tgtEl>
                                          <p:spTgt spid="2"/>
                                        </p:tgtEl>
                                        <p:attrNameLst>
                                          <p:attrName>ppt_y</p:attrName>
                                        </p:attrNameLst>
                                      </p:cBhvr>
                                      <p:tavLst>
                                        <p:tav tm="0">
                                          <p:val>
                                            <p:strVal val="0-#ppt_h/2"/>
                                          </p:val>
                                        </p:tav>
                                        <p:tav tm="100000">
                                          <p:val>
                                            <p:strVal val="#ppt_y"/>
                                          </p:val>
                                        </p:tav>
                                      </p:tavLst>
                                    </p:anim>
                                  </p:childTnLst>
                                </p:cTn>
                              </p:par>
                              <p:par>
                                <p:cTn id="11" presetID="2" presetClass="entr" presetSubtype="3" decel="2530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750" fill="hold"/>
                                        <p:tgtEl>
                                          <p:spTgt spid="5"/>
                                        </p:tgtEl>
                                        <p:attrNameLst>
                                          <p:attrName>ppt_x</p:attrName>
                                        </p:attrNameLst>
                                      </p:cBhvr>
                                      <p:tavLst>
                                        <p:tav tm="0">
                                          <p:val>
                                            <p:strVal val="1+#ppt_w/2"/>
                                          </p:val>
                                        </p:tav>
                                        <p:tav tm="100000">
                                          <p:val>
                                            <p:strVal val="#ppt_x"/>
                                          </p:val>
                                        </p:tav>
                                      </p:tavLst>
                                    </p:anim>
                                    <p:anim calcmode="lin" valueType="num">
                                      <p:cBhvr additive="base">
                                        <p:cTn id="14" dur="750" fill="hold"/>
                                        <p:tgtEl>
                                          <p:spTgt spid="5"/>
                                        </p:tgtEl>
                                        <p:attrNameLst>
                                          <p:attrName>ppt_y</p:attrName>
                                        </p:attrNameLst>
                                      </p:cBhvr>
                                      <p:tavLst>
                                        <p:tav tm="0">
                                          <p:val>
                                            <p:strVal val="0-#ppt_h/2"/>
                                          </p:val>
                                        </p:tav>
                                        <p:tav tm="100000">
                                          <p:val>
                                            <p:strVal val="#ppt_y"/>
                                          </p:val>
                                        </p:tav>
                                      </p:tavLst>
                                    </p:anim>
                                  </p:childTnLst>
                                </p:cTn>
                              </p:par>
                              <p:par>
                                <p:cTn id="15" presetID="2" presetClass="entr" presetSubtype="12" decel="2530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750" fill="hold"/>
                                        <p:tgtEl>
                                          <p:spTgt spid="11"/>
                                        </p:tgtEl>
                                        <p:attrNameLst>
                                          <p:attrName>ppt_x</p:attrName>
                                        </p:attrNameLst>
                                      </p:cBhvr>
                                      <p:tavLst>
                                        <p:tav tm="0">
                                          <p:val>
                                            <p:strVal val="0-#ppt_w/2"/>
                                          </p:val>
                                        </p:tav>
                                        <p:tav tm="100000">
                                          <p:val>
                                            <p:strVal val="#ppt_x"/>
                                          </p:val>
                                        </p:tav>
                                      </p:tavLst>
                                    </p:anim>
                                    <p:anim calcmode="lin" valueType="num">
                                      <p:cBhvr additive="base">
                                        <p:cTn id="18" dur="750" fill="hold"/>
                                        <p:tgtEl>
                                          <p:spTgt spid="11"/>
                                        </p:tgtEl>
                                        <p:attrNameLst>
                                          <p:attrName>ppt_y</p:attrName>
                                        </p:attrNameLst>
                                      </p:cBhvr>
                                      <p:tavLst>
                                        <p:tav tm="0">
                                          <p:val>
                                            <p:strVal val="1+#ppt_h/2"/>
                                          </p:val>
                                        </p:tav>
                                        <p:tav tm="100000">
                                          <p:val>
                                            <p:strVal val="#ppt_y"/>
                                          </p:val>
                                        </p:tav>
                                      </p:tavLst>
                                    </p:anim>
                                  </p:childTnLst>
                                </p:cTn>
                              </p:par>
                              <p:par>
                                <p:cTn id="19" presetID="2" presetClass="entr" presetSubtype="6" decel="2530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750" fill="hold"/>
                                        <p:tgtEl>
                                          <p:spTgt spid="8"/>
                                        </p:tgtEl>
                                        <p:attrNameLst>
                                          <p:attrName>ppt_x</p:attrName>
                                        </p:attrNameLst>
                                      </p:cBhvr>
                                      <p:tavLst>
                                        <p:tav tm="0">
                                          <p:val>
                                            <p:strVal val="1+#ppt_w/2"/>
                                          </p:val>
                                        </p:tav>
                                        <p:tav tm="100000">
                                          <p:val>
                                            <p:strVal val="#ppt_x"/>
                                          </p:val>
                                        </p:tav>
                                      </p:tavLst>
                                    </p:anim>
                                    <p:anim calcmode="lin" valueType="num">
                                      <p:cBhvr additive="base">
                                        <p:cTn id="22" dur="750" fill="hold"/>
                                        <p:tgtEl>
                                          <p:spTgt spid="8"/>
                                        </p:tgtEl>
                                        <p:attrNameLst>
                                          <p:attrName>ppt_y</p:attrName>
                                        </p:attrNameLst>
                                      </p:cBhvr>
                                      <p:tavLst>
                                        <p:tav tm="0">
                                          <p:val>
                                            <p:strVal val="1+#ppt_h/2"/>
                                          </p:val>
                                        </p:tav>
                                        <p:tav tm="100000">
                                          <p:val>
                                            <p:strVal val="#ppt_y"/>
                                          </p:val>
                                        </p:tav>
                                      </p:tavLst>
                                    </p:anim>
                                  </p:childTnLst>
                                </p:cTn>
                              </p:par>
                            </p:childTnLst>
                          </p:cTn>
                        </p:par>
                        <p:par>
                          <p:cTn id="23" fill="hold">
                            <p:stCondLst>
                              <p:cond delay="750"/>
                            </p:stCondLst>
                            <p:childTnLst>
                              <p:par>
                                <p:cTn id="24" presetID="10" presetClass="entr" presetSubtype="0" fill="hold" grpId="0"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250"/>
                            </p:stCondLst>
                            <p:childTnLst>
                              <p:par>
                                <p:cTn id="28" presetID="22" presetClass="entr" presetSubtype="8" fill="hold" grpId="0" nodeType="after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wipe(left)">
                                      <p:cBhvr>
                                        <p:cTn id="30" dur="500"/>
                                        <p:tgtEl>
                                          <p:spTgt spid="15"/>
                                        </p:tgtEl>
                                      </p:cBhvr>
                                    </p:animEffect>
                                  </p:childTnLst>
                                </p:cTn>
                              </p:par>
                            </p:childTnLst>
                          </p:cTn>
                        </p:par>
                        <p:par>
                          <p:cTn id="31" fill="hold">
                            <p:stCondLst>
                              <p:cond delay="1750"/>
                            </p:stCondLst>
                            <p:childTnLst>
                              <p:par>
                                <p:cTn id="32" presetID="22" presetClass="entr" presetSubtype="8" fill="hold" grpId="0"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wipe(left)">
                                      <p:cBhvr>
                                        <p:cTn id="34" dur="500"/>
                                        <p:tgtEl>
                                          <p:spTgt spid="17"/>
                                        </p:tgtEl>
                                      </p:cBhvr>
                                    </p:animEffect>
                                  </p:childTnLst>
                                </p:cTn>
                              </p:par>
                            </p:childTnLst>
                          </p:cTn>
                        </p:par>
                        <p:par>
                          <p:cTn id="35" fill="hold">
                            <p:stCondLst>
                              <p:cond delay="2250"/>
                            </p:stCondLst>
                            <p:childTnLst>
                              <p:par>
                                <p:cTn id="36" presetID="22" presetClass="entr" presetSubtype="8" fill="hold" grpId="0" nodeType="after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wipe(left)">
                                      <p:cBhvr>
                                        <p:cTn id="38" dur="500"/>
                                        <p:tgtEl>
                                          <p:spTgt spid="16"/>
                                        </p:tgtEl>
                                      </p:cBhvr>
                                    </p:animEffect>
                                  </p:childTnLst>
                                </p:cTn>
                              </p:par>
                            </p:childTnLst>
                          </p:cTn>
                        </p:par>
                        <p:par>
                          <p:cTn id="39" fill="hold">
                            <p:stCondLst>
                              <p:cond delay="2750"/>
                            </p:stCondLst>
                            <p:childTnLst>
                              <p:par>
                                <p:cTn id="40" presetID="22" presetClass="entr" presetSubtype="8"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wipe(left)">
                                      <p:cBhvr>
                                        <p:cTn id="4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3" fill="hold" display="0">
                  <p:stCondLst>
                    <p:cond delay="indefinite"/>
                  </p:stCondLst>
                  <p:endCondLst>
                    <p:cond evt="onStopAudio" delay="0">
                      <p:tgtEl>
                        <p:sldTgt/>
                      </p:tgtEl>
                    </p:cond>
                  </p:endCondLst>
                </p:cTn>
                <p:tgtEl>
                  <p:spTgt spid="23"/>
                </p:tgtEl>
              </p:cMediaNode>
            </p:audio>
          </p:childTnLst>
        </p:cTn>
      </p:par>
    </p:tnLst>
    <p:bldLst>
      <p:bldP spid="14" grpId="0" bldLvl="0" animBg="1"/>
      <p:bldP spid="15" grpId="0" bldLvl="0"/>
      <p:bldP spid="16" grpId="0" bldLvl="0"/>
      <p:bldP spid="17" grpId="0" bldLvl="0"/>
      <p:bldP spid="18" grpId="0" bldLvl="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矩形 10"/>
          <p:cNvSpPr/>
          <p:nvPr/>
        </p:nvSpPr>
        <p:spPr>
          <a:xfrm>
            <a:off x="2469086" y="2627676"/>
            <a:ext cx="7175500" cy="179070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2"/>
          <p:cNvSpPr txBox="1">
            <a:spLocks noChangeArrowheads="1"/>
          </p:cNvSpPr>
          <p:nvPr/>
        </p:nvSpPr>
        <p:spPr bwMode="auto">
          <a:xfrm>
            <a:off x="3213783" y="2938826"/>
            <a:ext cx="5572125" cy="646113"/>
          </a:xfrm>
          <a:prstGeom prst="rect">
            <a:avLst/>
          </a:prstGeom>
          <a:noFill/>
          <a:ln w="9525">
            <a:noFill/>
            <a:miter lim="800000"/>
            <a:headEnd/>
            <a:tailEnd/>
          </a:ln>
        </p:spPr>
        <p:txBody>
          <a:bodyPr>
            <a:spAutoFit/>
          </a:bodyPr>
          <a:lstStyle/>
          <a:p>
            <a:pPr algn="ctr"/>
            <a:r>
              <a:rPr lang="zh-CN" altLang="en-US" sz="3600" dirty="0">
                <a:solidFill>
                  <a:schemeClr val="bg1"/>
                </a:solidFill>
                <a:latin typeface="等线 Light" panose="02010600030101010101" pitchFamily="2" charset="-122"/>
                <a:ea typeface="等线 Light" panose="02010600030101010101" pitchFamily="2" charset="-122"/>
              </a:rPr>
              <a:t>输入标题</a:t>
            </a:r>
            <a:endParaRPr lang="en-US" altLang="zh-CN" sz="3600" dirty="0">
              <a:solidFill>
                <a:schemeClr val="bg1"/>
              </a:solidFill>
              <a:latin typeface="等线 Light" panose="02010600030101010101" pitchFamily="2" charset="-122"/>
              <a:ea typeface="等线 Light" panose="02010600030101010101" pitchFamily="2" charset="-122"/>
            </a:endParaRPr>
          </a:p>
        </p:txBody>
      </p:sp>
      <p:sp>
        <p:nvSpPr>
          <p:cNvPr id="6" name="文本框 3"/>
          <p:cNvSpPr txBox="1">
            <a:spLocks noChangeArrowheads="1"/>
          </p:cNvSpPr>
          <p:nvPr/>
        </p:nvSpPr>
        <p:spPr bwMode="auto">
          <a:xfrm>
            <a:off x="5347262" y="3678492"/>
            <a:ext cx="1295547" cy="646331"/>
          </a:xfrm>
          <a:prstGeom prst="rect">
            <a:avLst/>
          </a:prstGeom>
          <a:noFill/>
          <a:ln w="9525">
            <a:noFill/>
            <a:miter lim="800000"/>
            <a:headEnd/>
            <a:tailEnd/>
          </a:ln>
        </p:spPr>
        <p:txBody>
          <a:bodyPr wrap="none">
            <a:spAutoFit/>
          </a:bodyPr>
          <a:lstStyle/>
          <a:p>
            <a:pPr eaLnBrk="1" hangingPunct="1">
              <a:buFont typeface="Arial" pitchFamily="34" charset="0"/>
              <a:buNone/>
            </a:pPr>
            <a:r>
              <a:rPr lang="en-US" altLang="zh-CN" sz="3600" b="1" dirty="0">
                <a:solidFill>
                  <a:schemeClr val="bg1"/>
                </a:solidFill>
                <a:latin typeface="等线 Light" panose="02010600030101010101" pitchFamily="2" charset="-122"/>
                <a:ea typeface="等线 Light" panose="02010600030101010101" pitchFamily="2" charset="-122"/>
              </a:rPr>
              <a:t>Part.4</a:t>
            </a:r>
            <a:endParaRPr lang="zh-CN" altLang="en-US" sz="3600" b="1" dirty="0">
              <a:solidFill>
                <a:schemeClr val="bg1"/>
              </a:solidFill>
              <a:latin typeface="等线 Light" panose="02010600030101010101" pitchFamily="2" charset="-122"/>
              <a:ea typeface="等线 Light" panose="02010600030101010101" pitchFamily="2" charset="-122"/>
            </a:endParaRPr>
          </a:p>
        </p:txBody>
      </p:sp>
      <p:cxnSp>
        <p:nvCxnSpPr>
          <p:cNvPr id="9" name="直接连接符 8"/>
          <p:cNvCxnSpPr/>
          <p:nvPr/>
        </p:nvCxnSpPr>
        <p:spPr>
          <a:xfrm>
            <a:off x="0" y="4418376"/>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362122621"/>
      </p:ext>
    </p:extLst>
  </p:cSld>
  <p:clrMapOvr>
    <a:masterClrMapping/>
  </p:clrMapOvr>
  <mc:AlternateContent xmlns:mc="http://schemas.openxmlformats.org/markup-compatibility/2006" xmlns:p14="http://schemas.microsoft.com/office/powerpoint/2010/main">
    <mc:Choice Requires="p14">
      <p:transition spd="slow" p14:dur="1200" advTm="707">
        <p:dissolve/>
      </p:transition>
    </mc:Choice>
    <mc:Fallback xmlns="">
      <p:transition spd="slow" advTm="707">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矩形 6"/>
          <p:cNvSpPr/>
          <p:nvPr/>
        </p:nvSpPr>
        <p:spPr>
          <a:xfrm>
            <a:off x="5211920" y="1255866"/>
            <a:ext cx="2127670" cy="830997"/>
          </a:xfrm>
          <a:prstGeom prst="rect">
            <a:avLst/>
          </a:prstGeom>
        </p:spPr>
        <p:txBody>
          <a:bodyPr wrap="square">
            <a:spAutoFit/>
          </a:bodyPr>
          <a:lstStyle/>
          <a:p>
            <a:pPr marL="0" marR="0" lvl="0" indent="0" defTabSz="934242" eaLnBrk="1" fontAlgn="auto" latinLnBrk="0" hangingPunct="1">
              <a:lnSpc>
                <a:spcPct val="100000"/>
              </a:lnSpc>
              <a:spcBef>
                <a:spcPts val="0"/>
              </a:spcBef>
              <a:spcAft>
                <a:spcPts val="0"/>
              </a:spcAft>
              <a:buClrTx/>
              <a:buSzTx/>
              <a:buFontTx/>
              <a:buNone/>
              <a:tabLst/>
              <a:defRPr/>
            </a:pPr>
            <a:r>
              <a:rPr kumimoji="0" lang="zh-CN" altLang="en-US" sz="4800" b="1" i="0" u="none" strike="noStrike" kern="0" cap="none" spc="0" normalizeH="0" baseline="0" noProof="0" dirty="0">
                <a:ln>
                  <a:noFill/>
                </a:ln>
                <a:solidFill>
                  <a:schemeClr val="bg1"/>
                </a:solidFill>
                <a:effectLst/>
                <a:uLnTx/>
                <a:uFillTx/>
                <a:latin typeface="等线 Light" panose="02010600030101010101" pitchFamily="2" charset="-122"/>
                <a:ea typeface="等线 Light" panose="02010600030101010101" pitchFamily="2" charset="-122"/>
              </a:rPr>
              <a:t>目  录</a:t>
            </a:r>
          </a:p>
        </p:txBody>
      </p:sp>
      <p:sp>
        <p:nvSpPr>
          <p:cNvPr id="8" name="Rectangle 4"/>
          <p:cNvSpPr txBox="1">
            <a:spLocks noChangeArrowheads="1"/>
          </p:cNvSpPr>
          <p:nvPr/>
        </p:nvSpPr>
        <p:spPr bwMode="auto">
          <a:xfrm>
            <a:off x="5412658" y="1979771"/>
            <a:ext cx="1411185" cy="381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1" tIns="34285" rIns="68571" bIns="34285" numCol="1" anchor="ctr" anchorCtr="0" compatLnSpc="1">
            <a:prstTxWarp prst="textNoShape">
              <a:avLst/>
            </a:prstTxWarp>
          </a:bodyPr>
          <a:lstStyle>
            <a:lvl1pPr marL="0" indent="0" algn="ctr">
              <a:buFontTx/>
              <a:buNone/>
              <a:defRPr sz="2000" b="1">
                <a:solidFill>
                  <a:schemeClr val="bg1"/>
                </a:solidFill>
                <a:latin typeface="+mj-lt"/>
                <a:ea typeface="+mj-ea"/>
                <a:cs typeface="+mj-cs"/>
              </a:defRPr>
            </a:lvl1pPr>
            <a:lvl2pPr marL="742950" indent="-285750" eaLnBrk="0" hangingPunct="0">
              <a:spcBef>
                <a:spcPct val="20000"/>
              </a:spcBef>
              <a:buChar char="–"/>
              <a:defRPr sz="2000">
                <a:latin typeface="+mn-lt"/>
                <a:ea typeface="仿宋_GB2312" pitchFamily="49" charset="-122"/>
              </a:defRPr>
            </a:lvl2pPr>
            <a:lvl3pPr marL="1143000" indent="-228600" eaLnBrk="0" hangingPunct="0">
              <a:spcBef>
                <a:spcPct val="20000"/>
              </a:spcBef>
              <a:buChar char="•"/>
              <a:defRPr sz="2400">
                <a:latin typeface="+mn-lt"/>
              </a:defRPr>
            </a:lvl3pPr>
            <a:lvl4pPr marL="1600200" indent="-228600" eaLnBrk="0" hangingPunct="0">
              <a:spcBef>
                <a:spcPct val="20000"/>
              </a:spcBef>
              <a:buChar char="–"/>
              <a:defRPr sz="2000">
                <a:latin typeface="+mn-lt"/>
              </a:defRPr>
            </a:lvl4pPr>
            <a:lvl5pPr marL="2057400" indent="-228600" eaLnBrk="0" hangingPunct="0">
              <a:spcBef>
                <a:spcPct val="20000"/>
              </a:spcBef>
              <a:buChar char="»"/>
              <a:defRPr sz="2000">
                <a:latin typeface="+mn-lt"/>
              </a:defRPr>
            </a:lvl5pPr>
            <a:lvl6pPr marL="2514600" indent="-228600" eaLnBrk="0" fontAlgn="base" hangingPunct="0">
              <a:spcBef>
                <a:spcPct val="20000"/>
              </a:spcBef>
              <a:spcAft>
                <a:spcPct val="0"/>
              </a:spcAft>
              <a:buChar char="»"/>
              <a:defRPr sz="2000">
                <a:latin typeface="+mn-lt"/>
              </a:defRPr>
            </a:lvl6pPr>
            <a:lvl7pPr marL="2971800" indent="-228600" eaLnBrk="0" fontAlgn="base" hangingPunct="0">
              <a:spcBef>
                <a:spcPct val="20000"/>
              </a:spcBef>
              <a:spcAft>
                <a:spcPct val="0"/>
              </a:spcAft>
              <a:buChar char="»"/>
              <a:defRPr sz="2000">
                <a:latin typeface="+mn-lt"/>
              </a:defRPr>
            </a:lvl7pPr>
            <a:lvl8pPr marL="3429000" indent="-228600" eaLnBrk="0" fontAlgn="base" hangingPunct="0">
              <a:spcBef>
                <a:spcPct val="20000"/>
              </a:spcBef>
              <a:spcAft>
                <a:spcPct val="0"/>
              </a:spcAft>
              <a:buChar char="»"/>
              <a:defRPr sz="2000">
                <a:latin typeface="+mn-lt"/>
              </a:defRPr>
            </a:lvl8pPr>
            <a:lvl9pPr marL="3886200" indent="-228600" eaLnBrk="0" fontAlgn="base" hangingPunct="0">
              <a:spcBef>
                <a:spcPct val="20000"/>
              </a:spcBef>
              <a:spcAft>
                <a:spcPct val="0"/>
              </a:spcAft>
              <a:buChar char="»"/>
              <a:defRPr sz="2000">
                <a:latin typeface="+mn-lt"/>
              </a:defRPr>
            </a:lvl9pPr>
          </a:lstStyle>
          <a:p>
            <a:pPr lvl="0" fontAlgn="auto">
              <a:spcBef>
                <a:spcPts val="0"/>
              </a:spcBef>
              <a:spcAft>
                <a:spcPts val="0"/>
              </a:spcAft>
              <a:defRPr/>
            </a:pPr>
            <a:r>
              <a:rPr lang="en-US" altLang="zh-CN" b="0" kern="0" dirty="0">
                <a:latin typeface="方正粗倩简体" pitchFamily="65" charset="-122"/>
                <a:ea typeface="方正粗倩简体" pitchFamily="65" charset="-122"/>
              </a:rPr>
              <a:t>CATALOG</a:t>
            </a:r>
            <a:endParaRPr kumimoji="0" lang="zh-CN" altLang="en-US" b="0" i="0" u="none" strike="noStrike" kern="0" cap="none" spc="0" normalizeH="0" baseline="0" noProof="0" dirty="0">
              <a:ln>
                <a:noFill/>
              </a:ln>
              <a:effectLst/>
              <a:uLnTx/>
              <a:uFillTx/>
              <a:latin typeface="方正粗倩简体" pitchFamily="65" charset="-122"/>
              <a:ea typeface="方正粗倩简体" pitchFamily="65" charset="-122"/>
            </a:endParaRPr>
          </a:p>
        </p:txBody>
      </p:sp>
      <p:grpSp>
        <p:nvGrpSpPr>
          <p:cNvPr id="10" name="组合 9"/>
          <p:cNvGrpSpPr/>
          <p:nvPr/>
        </p:nvGrpSpPr>
        <p:grpSpPr>
          <a:xfrm>
            <a:off x="3080128" y="3047382"/>
            <a:ext cx="1893688" cy="1606682"/>
            <a:chOff x="1881842" y="2656049"/>
            <a:chExt cx="2397222" cy="2093640"/>
          </a:xfrm>
          <a:solidFill>
            <a:srgbClr val="223B7E"/>
          </a:solidFill>
        </p:grpSpPr>
        <p:grpSp>
          <p:nvGrpSpPr>
            <p:cNvPr id="12" name="组合 91"/>
            <p:cNvGrpSpPr/>
            <p:nvPr/>
          </p:nvGrpSpPr>
          <p:grpSpPr>
            <a:xfrm>
              <a:off x="1881842" y="2656049"/>
              <a:ext cx="2397222" cy="2093640"/>
              <a:chOff x="1511944" y="2420246"/>
              <a:chExt cx="2627152" cy="2294453"/>
            </a:xfrm>
            <a:grpFill/>
            <a:effectLst>
              <a:outerShdw blurRad="203200" dist="38100" dir="3780000" sx="103000" sy="103000" algn="t" rotWithShape="0">
                <a:prstClr val="black">
                  <a:alpha val="25000"/>
                </a:prstClr>
              </a:outerShdw>
            </a:effectLst>
          </p:grpSpPr>
          <p:sp>
            <p:nvSpPr>
              <p:cNvPr id="15" name="Freeform 6"/>
              <p:cNvSpPr>
                <a:spLocks/>
              </p:cNvSpPr>
              <p:nvPr/>
            </p:nvSpPr>
            <p:spPr bwMode="auto">
              <a:xfrm>
                <a:off x="1511944" y="2420246"/>
                <a:ext cx="2627152" cy="2294453"/>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grp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6"/>
              <p:cNvSpPr>
                <a:spLocks/>
              </p:cNvSpPr>
              <p:nvPr/>
            </p:nvSpPr>
            <p:spPr bwMode="auto">
              <a:xfrm>
                <a:off x="1524106" y="2431739"/>
                <a:ext cx="2602832" cy="2271469"/>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solidFill>
                <a:schemeClr val="bg1"/>
              </a:soli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grpSp>
        <p:sp>
          <p:nvSpPr>
            <p:cNvPr id="13" name="Freeform 7"/>
            <p:cNvSpPr>
              <a:spLocks/>
            </p:cNvSpPr>
            <p:nvPr/>
          </p:nvSpPr>
          <p:spPr bwMode="auto">
            <a:xfrm>
              <a:off x="2193523" y="2932555"/>
              <a:ext cx="1773860" cy="1540629"/>
            </a:xfrm>
            <a:custGeom>
              <a:avLst/>
              <a:gdLst>
                <a:gd name="T0" fmla="*/ 3404 w 3431"/>
                <a:gd name="T1" fmla="*/ 1576 h 2999"/>
                <a:gd name="T2" fmla="*/ 3015 w 3431"/>
                <a:gd name="T3" fmla="*/ 2249 h 2999"/>
                <a:gd name="T4" fmla="*/ 2625 w 3431"/>
                <a:gd name="T5" fmla="*/ 2923 h 2999"/>
                <a:gd name="T6" fmla="*/ 2494 w 3431"/>
                <a:gd name="T7" fmla="*/ 2999 h 2999"/>
                <a:gd name="T8" fmla="*/ 1716 w 3431"/>
                <a:gd name="T9" fmla="*/ 2999 h 2999"/>
                <a:gd name="T10" fmla="*/ 938 w 3431"/>
                <a:gd name="T11" fmla="*/ 2999 h 2999"/>
                <a:gd name="T12" fmla="*/ 806 w 3431"/>
                <a:gd name="T13" fmla="*/ 2923 h 2999"/>
                <a:gd name="T14" fmla="*/ 417 w 3431"/>
                <a:gd name="T15" fmla="*/ 2249 h 2999"/>
                <a:gd name="T16" fmla="*/ 28 w 3431"/>
                <a:gd name="T17" fmla="*/ 1576 h 2999"/>
                <a:gd name="T18" fmla="*/ 28 w 3431"/>
                <a:gd name="T19" fmla="*/ 1424 h 2999"/>
                <a:gd name="T20" fmla="*/ 417 w 3431"/>
                <a:gd name="T21" fmla="*/ 750 h 2999"/>
                <a:gd name="T22" fmla="*/ 806 w 3431"/>
                <a:gd name="T23" fmla="*/ 76 h 2999"/>
                <a:gd name="T24" fmla="*/ 938 w 3431"/>
                <a:gd name="T25" fmla="*/ 0 h 2999"/>
                <a:gd name="T26" fmla="*/ 1716 w 3431"/>
                <a:gd name="T27" fmla="*/ 0 h 2999"/>
                <a:gd name="T28" fmla="*/ 2494 w 3431"/>
                <a:gd name="T29" fmla="*/ 0 h 2999"/>
                <a:gd name="T30" fmla="*/ 2625 w 3431"/>
                <a:gd name="T31" fmla="*/ 76 h 2999"/>
                <a:gd name="T32" fmla="*/ 3015 w 3431"/>
                <a:gd name="T33" fmla="*/ 750 h 2999"/>
                <a:gd name="T34" fmla="*/ 3404 w 3431"/>
                <a:gd name="T35" fmla="*/ 1424 h 2999"/>
                <a:gd name="T36" fmla="*/ 3404 w 3431"/>
                <a:gd name="T37" fmla="*/ 157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1" h="2999">
                  <a:moveTo>
                    <a:pt x="3404" y="1576"/>
                  </a:moveTo>
                  <a:lnTo>
                    <a:pt x="3015" y="2249"/>
                  </a:lnTo>
                  <a:lnTo>
                    <a:pt x="2625" y="2923"/>
                  </a:lnTo>
                  <a:cubicBezTo>
                    <a:pt x="2598" y="2972"/>
                    <a:pt x="2550" y="2999"/>
                    <a:pt x="2494" y="2999"/>
                  </a:cubicBezTo>
                  <a:lnTo>
                    <a:pt x="1716" y="2999"/>
                  </a:lnTo>
                  <a:lnTo>
                    <a:pt x="938" y="2999"/>
                  </a:lnTo>
                  <a:cubicBezTo>
                    <a:pt x="882" y="2999"/>
                    <a:pt x="834" y="2972"/>
                    <a:pt x="806" y="2923"/>
                  </a:cubicBezTo>
                  <a:lnTo>
                    <a:pt x="417" y="2249"/>
                  </a:lnTo>
                  <a:lnTo>
                    <a:pt x="28" y="1576"/>
                  </a:lnTo>
                  <a:cubicBezTo>
                    <a:pt x="0" y="1527"/>
                    <a:pt x="0" y="1472"/>
                    <a:pt x="28" y="1424"/>
                  </a:cubicBezTo>
                  <a:lnTo>
                    <a:pt x="417" y="750"/>
                  </a:lnTo>
                  <a:lnTo>
                    <a:pt x="806" y="76"/>
                  </a:lnTo>
                  <a:cubicBezTo>
                    <a:pt x="834" y="28"/>
                    <a:pt x="882" y="0"/>
                    <a:pt x="938" y="0"/>
                  </a:cubicBezTo>
                  <a:lnTo>
                    <a:pt x="1716" y="0"/>
                  </a:lnTo>
                  <a:lnTo>
                    <a:pt x="2494" y="0"/>
                  </a:lnTo>
                  <a:cubicBezTo>
                    <a:pt x="2550" y="0"/>
                    <a:pt x="2598" y="28"/>
                    <a:pt x="2625" y="76"/>
                  </a:cubicBezTo>
                  <a:lnTo>
                    <a:pt x="3015" y="750"/>
                  </a:lnTo>
                  <a:lnTo>
                    <a:pt x="3404" y="1424"/>
                  </a:lnTo>
                  <a:cubicBezTo>
                    <a:pt x="3431" y="1472"/>
                    <a:pt x="3431" y="1527"/>
                    <a:pt x="3404" y="1576"/>
                  </a:cubicBezTo>
                  <a:close/>
                </a:path>
              </a:pathLst>
            </a:custGeom>
            <a:solidFill>
              <a:schemeClr val="bg1"/>
            </a:soli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sp>
          <p:nvSpPr>
            <p:cNvPr id="14" name="TextBox 56"/>
            <p:cNvSpPr txBox="1"/>
            <p:nvPr/>
          </p:nvSpPr>
          <p:spPr>
            <a:xfrm>
              <a:off x="2685948" y="3334302"/>
              <a:ext cx="1010287" cy="711423"/>
            </a:xfrm>
            <a:prstGeom prst="rect">
              <a:avLst/>
            </a:prstGeom>
            <a:noFill/>
          </p:spPr>
          <p:txBody>
            <a:bodyPr wrap="square" rtlCol="0">
              <a:spAutoFit/>
            </a:bodyPr>
            <a:lstStyle/>
            <a:p>
              <a:r>
                <a:rPr lang="en-US" altLang="zh-CN" sz="3600" b="1" dirty="0">
                  <a:solidFill>
                    <a:srgbClr val="223B7E"/>
                  </a:solidFill>
                  <a:latin typeface="DFGothic-EB" panose="02010609010101010101" pitchFamily="1" charset="-128"/>
                  <a:ea typeface="DFGothic-EB" panose="02010609010101010101" pitchFamily="1" charset="-128"/>
                </a:rPr>
                <a:t>01</a:t>
              </a:r>
              <a:endParaRPr lang="zh-CN" altLang="en-US" sz="3600" b="1" dirty="0">
                <a:solidFill>
                  <a:srgbClr val="223B7E"/>
                </a:solidFill>
                <a:latin typeface="DFGothic-EB" panose="02010609010101010101" pitchFamily="1" charset="-128"/>
                <a:ea typeface="DFGothic-EB" panose="02010609010101010101" pitchFamily="1" charset="-128"/>
              </a:endParaRPr>
            </a:p>
          </p:txBody>
        </p:sp>
      </p:grpSp>
      <p:grpSp>
        <p:nvGrpSpPr>
          <p:cNvPr id="17" name="组合 16"/>
          <p:cNvGrpSpPr/>
          <p:nvPr/>
        </p:nvGrpSpPr>
        <p:grpSpPr>
          <a:xfrm>
            <a:off x="4561847" y="3867753"/>
            <a:ext cx="1876158" cy="1590921"/>
            <a:chOff x="3721944" y="3702869"/>
            <a:chExt cx="2397222" cy="2093640"/>
          </a:xfrm>
          <a:solidFill>
            <a:schemeClr val="bg1"/>
          </a:solidFill>
        </p:grpSpPr>
        <p:grpSp>
          <p:nvGrpSpPr>
            <p:cNvPr id="18" name="组合 97"/>
            <p:cNvGrpSpPr/>
            <p:nvPr/>
          </p:nvGrpSpPr>
          <p:grpSpPr>
            <a:xfrm>
              <a:off x="3721944" y="3702869"/>
              <a:ext cx="2397222" cy="2093640"/>
              <a:chOff x="3721944" y="3702869"/>
              <a:chExt cx="2397222" cy="2093640"/>
            </a:xfrm>
            <a:grpFill/>
          </p:grpSpPr>
          <p:grpSp>
            <p:nvGrpSpPr>
              <p:cNvPr id="20" name="组合 99"/>
              <p:cNvGrpSpPr/>
              <p:nvPr/>
            </p:nvGrpSpPr>
            <p:grpSpPr>
              <a:xfrm>
                <a:off x="3721944" y="3702869"/>
                <a:ext cx="2397222" cy="2093640"/>
                <a:chOff x="1511944" y="2420246"/>
                <a:chExt cx="2627152" cy="2294453"/>
              </a:xfrm>
              <a:grpFill/>
              <a:effectLst>
                <a:outerShdw blurRad="203200" dist="38100" dir="3780000" sx="103000" sy="103000" algn="t" rotWithShape="0">
                  <a:prstClr val="black">
                    <a:alpha val="25000"/>
                  </a:prstClr>
                </a:outerShdw>
              </a:effectLst>
            </p:grpSpPr>
            <p:sp>
              <p:nvSpPr>
                <p:cNvPr id="22" name="Freeform 6"/>
                <p:cNvSpPr>
                  <a:spLocks/>
                </p:cNvSpPr>
                <p:nvPr/>
              </p:nvSpPr>
              <p:spPr bwMode="auto">
                <a:xfrm>
                  <a:off x="1511944" y="2420246"/>
                  <a:ext cx="2627152" cy="2294453"/>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grp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b="1" dirty="0">
                    <a:solidFill>
                      <a:srgbClr val="223B7E"/>
                    </a:solidFill>
                  </a:endParaRPr>
                </a:p>
              </p:txBody>
            </p:sp>
            <p:sp>
              <p:nvSpPr>
                <p:cNvPr id="23" name="Freeform 6"/>
                <p:cNvSpPr>
                  <a:spLocks/>
                </p:cNvSpPr>
                <p:nvPr/>
              </p:nvSpPr>
              <p:spPr bwMode="auto">
                <a:xfrm>
                  <a:off x="1524106" y="2431739"/>
                  <a:ext cx="2602832" cy="2271469"/>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grp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b="1">
                    <a:solidFill>
                      <a:srgbClr val="223B7E"/>
                    </a:solidFill>
                  </a:endParaRPr>
                </a:p>
              </p:txBody>
            </p:sp>
          </p:grpSp>
          <p:sp>
            <p:nvSpPr>
              <p:cNvPr id="21" name="Freeform 7"/>
              <p:cNvSpPr>
                <a:spLocks/>
              </p:cNvSpPr>
              <p:nvPr/>
            </p:nvSpPr>
            <p:spPr bwMode="auto">
              <a:xfrm>
                <a:off x="3984945" y="3946818"/>
                <a:ext cx="1773860" cy="1540628"/>
              </a:xfrm>
              <a:custGeom>
                <a:avLst/>
                <a:gdLst>
                  <a:gd name="T0" fmla="*/ 3404 w 3431"/>
                  <a:gd name="T1" fmla="*/ 1576 h 2999"/>
                  <a:gd name="T2" fmla="*/ 3015 w 3431"/>
                  <a:gd name="T3" fmla="*/ 2249 h 2999"/>
                  <a:gd name="T4" fmla="*/ 2625 w 3431"/>
                  <a:gd name="T5" fmla="*/ 2923 h 2999"/>
                  <a:gd name="T6" fmla="*/ 2494 w 3431"/>
                  <a:gd name="T7" fmla="*/ 2999 h 2999"/>
                  <a:gd name="T8" fmla="*/ 1716 w 3431"/>
                  <a:gd name="T9" fmla="*/ 2999 h 2999"/>
                  <a:gd name="T10" fmla="*/ 938 w 3431"/>
                  <a:gd name="T11" fmla="*/ 2999 h 2999"/>
                  <a:gd name="T12" fmla="*/ 806 w 3431"/>
                  <a:gd name="T13" fmla="*/ 2923 h 2999"/>
                  <a:gd name="T14" fmla="*/ 417 w 3431"/>
                  <a:gd name="T15" fmla="*/ 2249 h 2999"/>
                  <a:gd name="T16" fmla="*/ 28 w 3431"/>
                  <a:gd name="T17" fmla="*/ 1576 h 2999"/>
                  <a:gd name="T18" fmla="*/ 28 w 3431"/>
                  <a:gd name="T19" fmla="*/ 1424 h 2999"/>
                  <a:gd name="T20" fmla="*/ 417 w 3431"/>
                  <a:gd name="T21" fmla="*/ 750 h 2999"/>
                  <a:gd name="T22" fmla="*/ 806 w 3431"/>
                  <a:gd name="T23" fmla="*/ 76 h 2999"/>
                  <a:gd name="T24" fmla="*/ 938 w 3431"/>
                  <a:gd name="T25" fmla="*/ 0 h 2999"/>
                  <a:gd name="T26" fmla="*/ 1716 w 3431"/>
                  <a:gd name="T27" fmla="*/ 0 h 2999"/>
                  <a:gd name="T28" fmla="*/ 2494 w 3431"/>
                  <a:gd name="T29" fmla="*/ 0 h 2999"/>
                  <a:gd name="T30" fmla="*/ 2625 w 3431"/>
                  <a:gd name="T31" fmla="*/ 76 h 2999"/>
                  <a:gd name="T32" fmla="*/ 3015 w 3431"/>
                  <a:gd name="T33" fmla="*/ 750 h 2999"/>
                  <a:gd name="T34" fmla="*/ 3404 w 3431"/>
                  <a:gd name="T35" fmla="*/ 1424 h 2999"/>
                  <a:gd name="T36" fmla="*/ 3404 w 3431"/>
                  <a:gd name="T37" fmla="*/ 157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1" h="2999">
                    <a:moveTo>
                      <a:pt x="3404" y="1576"/>
                    </a:moveTo>
                    <a:lnTo>
                      <a:pt x="3015" y="2249"/>
                    </a:lnTo>
                    <a:lnTo>
                      <a:pt x="2625" y="2923"/>
                    </a:lnTo>
                    <a:cubicBezTo>
                      <a:pt x="2598" y="2972"/>
                      <a:pt x="2550" y="2999"/>
                      <a:pt x="2494" y="2999"/>
                    </a:cubicBezTo>
                    <a:lnTo>
                      <a:pt x="1716" y="2999"/>
                    </a:lnTo>
                    <a:lnTo>
                      <a:pt x="938" y="2999"/>
                    </a:lnTo>
                    <a:cubicBezTo>
                      <a:pt x="882" y="2999"/>
                      <a:pt x="834" y="2972"/>
                      <a:pt x="806" y="2923"/>
                    </a:cubicBezTo>
                    <a:lnTo>
                      <a:pt x="417" y="2249"/>
                    </a:lnTo>
                    <a:lnTo>
                      <a:pt x="28" y="1576"/>
                    </a:lnTo>
                    <a:cubicBezTo>
                      <a:pt x="0" y="1527"/>
                      <a:pt x="0" y="1472"/>
                      <a:pt x="28" y="1424"/>
                    </a:cubicBezTo>
                    <a:lnTo>
                      <a:pt x="417" y="750"/>
                    </a:lnTo>
                    <a:lnTo>
                      <a:pt x="806" y="76"/>
                    </a:lnTo>
                    <a:cubicBezTo>
                      <a:pt x="834" y="28"/>
                      <a:pt x="882" y="0"/>
                      <a:pt x="938" y="0"/>
                    </a:cubicBezTo>
                    <a:lnTo>
                      <a:pt x="1716" y="0"/>
                    </a:lnTo>
                    <a:lnTo>
                      <a:pt x="2494" y="0"/>
                    </a:lnTo>
                    <a:cubicBezTo>
                      <a:pt x="2550" y="0"/>
                      <a:pt x="2598" y="28"/>
                      <a:pt x="2625" y="76"/>
                    </a:cubicBezTo>
                    <a:lnTo>
                      <a:pt x="3015" y="750"/>
                    </a:lnTo>
                    <a:lnTo>
                      <a:pt x="3404" y="1424"/>
                    </a:lnTo>
                    <a:cubicBezTo>
                      <a:pt x="3431" y="1472"/>
                      <a:pt x="3431" y="1527"/>
                      <a:pt x="3404" y="1576"/>
                    </a:cubicBezTo>
                    <a:close/>
                  </a:path>
                </a:pathLst>
              </a:custGeom>
              <a:grp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b="1">
                  <a:solidFill>
                    <a:srgbClr val="223B7E"/>
                  </a:solidFill>
                </a:endParaRPr>
              </a:p>
            </p:txBody>
          </p:sp>
        </p:grpSp>
        <p:sp>
          <p:nvSpPr>
            <p:cNvPr id="19" name="TextBox 61"/>
            <p:cNvSpPr txBox="1"/>
            <p:nvPr/>
          </p:nvSpPr>
          <p:spPr>
            <a:xfrm>
              <a:off x="4539137" y="4380484"/>
              <a:ext cx="1010287" cy="761065"/>
            </a:xfrm>
            <a:prstGeom prst="rect">
              <a:avLst/>
            </a:prstGeom>
            <a:grpFill/>
          </p:spPr>
          <p:txBody>
            <a:bodyPr wrap="square" rtlCol="0">
              <a:spAutoFit/>
            </a:bodyPr>
            <a:lstStyle/>
            <a:p>
              <a:r>
                <a:rPr lang="en-US" altLang="zh-CN" sz="3600" b="1" dirty="0">
                  <a:solidFill>
                    <a:srgbClr val="223B7E"/>
                  </a:solidFill>
                  <a:latin typeface="DFGothic-EB" panose="02010609010101010101" pitchFamily="1" charset="-128"/>
                  <a:ea typeface="DFGothic-EB" panose="02010609010101010101" pitchFamily="1" charset="-128"/>
                </a:rPr>
                <a:t>02</a:t>
              </a:r>
              <a:endParaRPr lang="zh-CN" altLang="en-US" sz="3600" b="1" dirty="0">
                <a:solidFill>
                  <a:srgbClr val="223B7E"/>
                </a:solidFill>
                <a:latin typeface="DFGothic-EB" panose="02010609010101010101" pitchFamily="1" charset="-128"/>
                <a:ea typeface="DFGothic-EB" panose="02010609010101010101" pitchFamily="1" charset="-128"/>
              </a:endParaRPr>
            </a:p>
          </p:txBody>
        </p:sp>
      </p:grpSp>
      <p:grpSp>
        <p:nvGrpSpPr>
          <p:cNvPr id="24" name="组合 23"/>
          <p:cNvGrpSpPr/>
          <p:nvPr/>
        </p:nvGrpSpPr>
        <p:grpSpPr>
          <a:xfrm>
            <a:off x="6029462" y="3024715"/>
            <a:ext cx="1894291" cy="1615587"/>
            <a:chOff x="5553262" y="2638733"/>
            <a:chExt cx="2397222" cy="2093640"/>
          </a:xfrm>
          <a:solidFill>
            <a:srgbClr val="223B7E"/>
          </a:solidFill>
        </p:grpSpPr>
        <p:grpSp>
          <p:nvGrpSpPr>
            <p:cNvPr id="25" name="组合 84"/>
            <p:cNvGrpSpPr/>
            <p:nvPr/>
          </p:nvGrpSpPr>
          <p:grpSpPr>
            <a:xfrm>
              <a:off x="5553262" y="2638733"/>
              <a:ext cx="2397222" cy="2093640"/>
              <a:chOff x="5553262" y="2638733"/>
              <a:chExt cx="2397222" cy="2093640"/>
            </a:xfrm>
            <a:grpFill/>
          </p:grpSpPr>
          <p:grpSp>
            <p:nvGrpSpPr>
              <p:cNvPr id="27" name="组合 86"/>
              <p:cNvGrpSpPr/>
              <p:nvPr/>
            </p:nvGrpSpPr>
            <p:grpSpPr>
              <a:xfrm>
                <a:off x="5553262" y="2638733"/>
                <a:ext cx="2397222" cy="2093640"/>
                <a:chOff x="1511944" y="2420246"/>
                <a:chExt cx="2627152" cy="2294453"/>
              </a:xfrm>
              <a:grpFill/>
              <a:effectLst>
                <a:outerShdw blurRad="203200" dist="38100" dir="3780000" sx="103000" sy="103000" algn="t" rotWithShape="0">
                  <a:prstClr val="black">
                    <a:alpha val="25000"/>
                  </a:prstClr>
                </a:outerShdw>
              </a:effectLst>
            </p:grpSpPr>
            <p:sp>
              <p:nvSpPr>
                <p:cNvPr id="29" name="Freeform 6"/>
                <p:cNvSpPr>
                  <a:spLocks/>
                </p:cNvSpPr>
                <p:nvPr/>
              </p:nvSpPr>
              <p:spPr bwMode="auto">
                <a:xfrm>
                  <a:off x="1511944" y="2420246"/>
                  <a:ext cx="2627152" cy="2294453"/>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grp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6"/>
                <p:cNvSpPr>
                  <a:spLocks/>
                </p:cNvSpPr>
                <p:nvPr/>
              </p:nvSpPr>
              <p:spPr bwMode="auto">
                <a:xfrm>
                  <a:off x="1524106" y="2431739"/>
                  <a:ext cx="2602832" cy="2271469"/>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solidFill>
                  <a:schemeClr val="bg1"/>
                </a:soli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grpSp>
          <p:sp>
            <p:nvSpPr>
              <p:cNvPr id="28" name="Freeform 7"/>
              <p:cNvSpPr>
                <a:spLocks/>
              </p:cNvSpPr>
              <p:nvPr/>
            </p:nvSpPr>
            <p:spPr bwMode="auto">
              <a:xfrm>
                <a:off x="5864945" y="2882683"/>
                <a:ext cx="1773860" cy="1540629"/>
              </a:xfrm>
              <a:custGeom>
                <a:avLst/>
                <a:gdLst>
                  <a:gd name="T0" fmla="*/ 3404 w 3431"/>
                  <a:gd name="T1" fmla="*/ 1576 h 2999"/>
                  <a:gd name="T2" fmla="*/ 3015 w 3431"/>
                  <a:gd name="T3" fmla="*/ 2249 h 2999"/>
                  <a:gd name="T4" fmla="*/ 2625 w 3431"/>
                  <a:gd name="T5" fmla="*/ 2923 h 2999"/>
                  <a:gd name="T6" fmla="*/ 2494 w 3431"/>
                  <a:gd name="T7" fmla="*/ 2999 h 2999"/>
                  <a:gd name="T8" fmla="*/ 1716 w 3431"/>
                  <a:gd name="T9" fmla="*/ 2999 h 2999"/>
                  <a:gd name="T10" fmla="*/ 938 w 3431"/>
                  <a:gd name="T11" fmla="*/ 2999 h 2999"/>
                  <a:gd name="T12" fmla="*/ 806 w 3431"/>
                  <a:gd name="T13" fmla="*/ 2923 h 2999"/>
                  <a:gd name="T14" fmla="*/ 417 w 3431"/>
                  <a:gd name="T15" fmla="*/ 2249 h 2999"/>
                  <a:gd name="T16" fmla="*/ 28 w 3431"/>
                  <a:gd name="T17" fmla="*/ 1576 h 2999"/>
                  <a:gd name="T18" fmla="*/ 28 w 3431"/>
                  <a:gd name="T19" fmla="*/ 1424 h 2999"/>
                  <a:gd name="T20" fmla="*/ 417 w 3431"/>
                  <a:gd name="T21" fmla="*/ 750 h 2999"/>
                  <a:gd name="T22" fmla="*/ 806 w 3431"/>
                  <a:gd name="T23" fmla="*/ 76 h 2999"/>
                  <a:gd name="T24" fmla="*/ 938 w 3431"/>
                  <a:gd name="T25" fmla="*/ 0 h 2999"/>
                  <a:gd name="T26" fmla="*/ 1716 w 3431"/>
                  <a:gd name="T27" fmla="*/ 0 h 2999"/>
                  <a:gd name="T28" fmla="*/ 2494 w 3431"/>
                  <a:gd name="T29" fmla="*/ 0 h 2999"/>
                  <a:gd name="T30" fmla="*/ 2625 w 3431"/>
                  <a:gd name="T31" fmla="*/ 76 h 2999"/>
                  <a:gd name="T32" fmla="*/ 3015 w 3431"/>
                  <a:gd name="T33" fmla="*/ 750 h 2999"/>
                  <a:gd name="T34" fmla="*/ 3404 w 3431"/>
                  <a:gd name="T35" fmla="*/ 1424 h 2999"/>
                  <a:gd name="T36" fmla="*/ 3404 w 3431"/>
                  <a:gd name="T37" fmla="*/ 157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1" h="2999">
                    <a:moveTo>
                      <a:pt x="3404" y="1576"/>
                    </a:moveTo>
                    <a:lnTo>
                      <a:pt x="3015" y="2249"/>
                    </a:lnTo>
                    <a:lnTo>
                      <a:pt x="2625" y="2923"/>
                    </a:lnTo>
                    <a:cubicBezTo>
                      <a:pt x="2598" y="2972"/>
                      <a:pt x="2550" y="2999"/>
                      <a:pt x="2494" y="2999"/>
                    </a:cubicBezTo>
                    <a:lnTo>
                      <a:pt x="1716" y="2999"/>
                    </a:lnTo>
                    <a:lnTo>
                      <a:pt x="938" y="2999"/>
                    </a:lnTo>
                    <a:cubicBezTo>
                      <a:pt x="882" y="2999"/>
                      <a:pt x="834" y="2972"/>
                      <a:pt x="806" y="2923"/>
                    </a:cubicBezTo>
                    <a:lnTo>
                      <a:pt x="417" y="2249"/>
                    </a:lnTo>
                    <a:lnTo>
                      <a:pt x="28" y="1576"/>
                    </a:lnTo>
                    <a:cubicBezTo>
                      <a:pt x="0" y="1527"/>
                      <a:pt x="0" y="1472"/>
                      <a:pt x="28" y="1424"/>
                    </a:cubicBezTo>
                    <a:lnTo>
                      <a:pt x="417" y="750"/>
                    </a:lnTo>
                    <a:lnTo>
                      <a:pt x="806" y="76"/>
                    </a:lnTo>
                    <a:cubicBezTo>
                      <a:pt x="834" y="28"/>
                      <a:pt x="882" y="0"/>
                      <a:pt x="938" y="0"/>
                    </a:cubicBezTo>
                    <a:lnTo>
                      <a:pt x="1716" y="0"/>
                    </a:lnTo>
                    <a:lnTo>
                      <a:pt x="2494" y="0"/>
                    </a:lnTo>
                    <a:cubicBezTo>
                      <a:pt x="2550" y="0"/>
                      <a:pt x="2598" y="28"/>
                      <a:pt x="2625" y="76"/>
                    </a:cubicBezTo>
                    <a:lnTo>
                      <a:pt x="3015" y="750"/>
                    </a:lnTo>
                    <a:lnTo>
                      <a:pt x="3404" y="1424"/>
                    </a:lnTo>
                    <a:cubicBezTo>
                      <a:pt x="3431" y="1472"/>
                      <a:pt x="3431" y="1527"/>
                      <a:pt x="3404" y="1576"/>
                    </a:cubicBezTo>
                    <a:close/>
                  </a:path>
                </a:pathLst>
              </a:custGeom>
              <a:solidFill>
                <a:schemeClr val="bg1"/>
              </a:soli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grpSp>
        <p:sp>
          <p:nvSpPr>
            <p:cNvPr id="26" name="TextBox 48"/>
            <p:cNvSpPr txBox="1"/>
            <p:nvPr/>
          </p:nvSpPr>
          <p:spPr>
            <a:xfrm>
              <a:off x="6282140" y="3328365"/>
              <a:ext cx="1010288" cy="747218"/>
            </a:xfrm>
            <a:prstGeom prst="rect">
              <a:avLst/>
            </a:prstGeom>
            <a:noFill/>
          </p:spPr>
          <p:txBody>
            <a:bodyPr wrap="square" rtlCol="0">
              <a:spAutoFit/>
            </a:bodyPr>
            <a:lstStyle/>
            <a:p>
              <a:r>
                <a:rPr lang="en-US" altLang="zh-CN" sz="3600" b="1" dirty="0">
                  <a:solidFill>
                    <a:srgbClr val="223B7E"/>
                  </a:solidFill>
                  <a:latin typeface="DFGothic-EB" panose="02010609010101010101" pitchFamily="1" charset="-128"/>
                  <a:ea typeface="DFGothic-EB" panose="02010609010101010101" pitchFamily="1" charset="-128"/>
                </a:rPr>
                <a:t>03</a:t>
              </a:r>
              <a:endParaRPr lang="zh-CN" altLang="en-US" sz="3600" b="1" dirty="0">
                <a:solidFill>
                  <a:srgbClr val="223B7E"/>
                </a:solidFill>
                <a:latin typeface="DFGothic-EB" panose="02010609010101010101" pitchFamily="1" charset="-128"/>
                <a:ea typeface="DFGothic-EB" panose="02010609010101010101" pitchFamily="1" charset="-128"/>
              </a:endParaRPr>
            </a:p>
          </p:txBody>
        </p:sp>
      </p:grpSp>
      <p:grpSp>
        <p:nvGrpSpPr>
          <p:cNvPr id="31" name="组合 30"/>
          <p:cNvGrpSpPr/>
          <p:nvPr/>
        </p:nvGrpSpPr>
        <p:grpSpPr>
          <a:xfrm>
            <a:off x="7497143" y="3860218"/>
            <a:ext cx="1882250" cy="1623556"/>
            <a:chOff x="7388330" y="3692384"/>
            <a:chExt cx="2397222" cy="2093640"/>
          </a:xfrm>
          <a:solidFill>
            <a:srgbClr val="223B7E"/>
          </a:solidFill>
        </p:grpSpPr>
        <p:grpSp>
          <p:nvGrpSpPr>
            <p:cNvPr id="32" name="组合 104"/>
            <p:cNvGrpSpPr/>
            <p:nvPr/>
          </p:nvGrpSpPr>
          <p:grpSpPr>
            <a:xfrm>
              <a:off x="7388330" y="3692384"/>
              <a:ext cx="2397222" cy="2093640"/>
              <a:chOff x="7388330" y="3692384"/>
              <a:chExt cx="2397222" cy="2093640"/>
            </a:xfrm>
            <a:grpFill/>
          </p:grpSpPr>
          <p:grpSp>
            <p:nvGrpSpPr>
              <p:cNvPr id="34" name="组合 106"/>
              <p:cNvGrpSpPr/>
              <p:nvPr/>
            </p:nvGrpSpPr>
            <p:grpSpPr>
              <a:xfrm>
                <a:off x="7388330" y="3692384"/>
                <a:ext cx="2397222" cy="2093640"/>
                <a:chOff x="1511944" y="2420246"/>
                <a:chExt cx="2627152" cy="2294453"/>
              </a:xfrm>
              <a:grpFill/>
              <a:effectLst>
                <a:outerShdw blurRad="203200" dist="38100" dir="3780000" sx="103000" sy="103000" algn="t" rotWithShape="0">
                  <a:prstClr val="black">
                    <a:alpha val="25000"/>
                  </a:prstClr>
                </a:outerShdw>
              </a:effectLst>
            </p:grpSpPr>
            <p:sp>
              <p:nvSpPr>
                <p:cNvPr id="36" name="Freeform 6"/>
                <p:cNvSpPr>
                  <a:spLocks/>
                </p:cNvSpPr>
                <p:nvPr/>
              </p:nvSpPr>
              <p:spPr bwMode="auto">
                <a:xfrm>
                  <a:off x="1511944" y="2420246"/>
                  <a:ext cx="2627152" cy="2294453"/>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grp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sp>
              <p:nvSpPr>
                <p:cNvPr id="37" name="Freeform 6"/>
                <p:cNvSpPr>
                  <a:spLocks/>
                </p:cNvSpPr>
                <p:nvPr/>
              </p:nvSpPr>
              <p:spPr bwMode="auto">
                <a:xfrm>
                  <a:off x="1524106" y="2431739"/>
                  <a:ext cx="2602832" cy="2271469"/>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solidFill>
                  <a:schemeClr val="bg1"/>
                </a:soli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grpSp>
          <p:sp>
            <p:nvSpPr>
              <p:cNvPr id="35" name="Freeform 7"/>
              <p:cNvSpPr>
                <a:spLocks/>
              </p:cNvSpPr>
              <p:nvPr/>
            </p:nvSpPr>
            <p:spPr bwMode="auto">
              <a:xfrm>
                <a:off x="7700013" y="3936334"/>
                <a:ext cx="1773860" cy="1540629"/>
              </a:xfrm>
              <a:custGeom>
                <a:avLst/>
                <a:gdLst>
                  <a:gd name="T0" fmla="*/ 3404 w 3431"/>
                  <a:gd name="T1" fmla="*/ 1576 h 2999"/>
                  <a:gd name="T2" fmla="*/ 3015 w 3431"/>
                  <a:gd name="T3" fmla="*/ 2249 h 2999"/>
                  <a:gd name="T4" fmla="*/ 2625 w 3431"/>
                  <a:gd name="T5" fmla="*/ 2923 h 2999"/>
                  <a:gd name="T6" fmla="*/ 2494 w 3431"/>
                  <a:gd name="T7" fmla="*/ 2999 h 2999"/>
                  <a:gd name="T8" fmla="*/ 1716 w 3431"/>
                  <a:gd name="T9" fmla="*/ 2999 h 2999"/>
                  <a:gd name="T10" fmla="*/ 938 w 3431"/>
                  <a:gd name="T11" fmla="*/ 2999 h 2999"/>
                  <a:gd name="T12" fmla="*/ 806 w 3431"/>
                  <a:gd name="T13" fmla="*/ 2923 h 2999"/>
                  <a:gd name="T14" fmla="*/ 417 w 3431"/>
                  <a:gd name="T15" fmla="*/ 2249 h 2999"/>
                  <a:gd name="T16" fmla="*/ 28 w 3431"/>
                  <a:gd name="T17" fmla="*/ 1576 h 2999"/>
                  <a:gd name="T18" fmla="*/ 28 w 3431"/>
                  <a:gd name="T19" fmla="*/ 1424 h 2999"/>
                  <a:gd name="T20" fmla="*/ 417 w 3431"/>
                  <a:gd name="T21" fmla="*/ 750 h 2999"/>
                  <a:gd name="T22" fmla="*/ 806 w 3431"/>
                  <a:gd name="T23" fmla="*/ 76 h 2999"/>
                  <a:gd name="T24" fmla="*/ 938 w 3431"/>
                  <a:gd name="T25" fmla="*/ 0 h 2999"/>
                  <a:gd name="T26" fmla="*/ 1716 w 3431"/>
                  <a:gd name="T27" fmla="*/ 0 h 2999"/>
                  <a:gd name="T28" fmla="*/ 2494 w 3431"/>
                  <a:gd name="T29" fmla="*/ 0 h 2999"/>
                  <a:gd name="T30" fmla="*/ 2625 w 3431"/>
                  <a:gd name="T31" fmla="*/ 76 h 2999"/>
                  <a:gd name="T32" fmla="*/ 3015 w 3431"/>
                  <a:gd name="T33" fmla="*/ 750 h 2999"/>
                  <a:gd name="T34" fmla="*/ 3404 w 3431"/>
                  <a:gd name="T35" fmla="*/ 1424 h 2999"/>
                  <a:gd name="T36" fmla="*/ 3404 w 3431"/>
                  <a:gd name="T37" fmla="*/ 157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1" h="2999">
                    <a:moveTo>
                      <a:pt x="3404" y="1576"/>
                    </a:moveTo>
                    <a:lnTo>
                      <a:pt x="3015" y="2249"/>
                    </a:lnTo>
                    <a:lnTo>
                      <a:pt x="2625" y="2923"/>
                    </a:lnTo>
                    <a:cubicBezTo>
                      <a:pt x="2598" y="2972"/>
                      <a:pt x="2550" y="2999"/>
                      <a:pt x="2494" y="2999"/>
                    </a:cubicBezTo>
                    <a:lnTo>
                      <a:pt x="1716" y="2999"/>
                    </a:lnTo>
                    <a:lnTo>
                      <a:pt x="938" y="2999"/>
                    </a:lnTo>
                    <a:cubicBezTo>
                      <a:pt x="882" y="2999"/>
                      <a:pt x="834" y="2972"/>
                      <a:pt x="806" y="2923"/>
                    </a:cubicBezTo>
                    <a:lnTo>
                      <a:pt x="417" y="2249"/>
                    </a:lnTo>
                    <a:lnTo>
                      <a:pt x="28" y="1576"/>
                    </a:lnTo>
                    <a:cubicBezTo>
                      <a:pt x="0" y="1527"/>
                      <a:pt x="0" y="1472"/>
                      <a:pt x="28" y="1424"/>
                    </a:cubicBezTo>
                    <a:lnTo>
                      <a:pt x="417" y="750"/>
                    </a:lnTo>
                    <a:lnTo>
                      <a:pt x="806" y="76"/>
                    </a:lnTo>
                    <a:cubicBezTo>
                      <a:pt x="834" y="28"/>
                      <a:pt x="882" y="0"/>
                      <a:pt x="938" y="0"/>
                    </a:cubicBezTo>
                    <a:lnTo>
                      <a:pt x="1716" y="0"/>
                    </a:lnTo>
                    <a:lnTo>
                      <a:pt x="2494" y="0"/>
                    </a:lnTo>
                    <a:cubicBezTo>
                      <a:pt x="2550" y="0"/>
                      <a:pt x="2598" y="28"/>
                      <a:pt x="2625" y="76"/>
                    </a:cubicBezTo>
                    <a:lnTo>
                      <a:pt x="3015" y="750"/>
                    </a:lnTo>
                    <a:lnTo>
                      <a:pt x="3404" y="1424"/>
                    </a:lnTo>
                    <a:cubicBezTo>
                      <a:pt x="3431" y="1472"/>
                      <a:pt x="3431" y="1527"/>
                      <a:pt x="3404" y="1576"/>
                    </a:cubicBezTo>
                    <a:close/>
                  </a:path>
                </a:pathLst>
              </a:custGeom>
              <a:solidFill>
                <a:schemeClr val="bg1"/>
              </a:soli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zh-CN" altLang="en-US"/>
              </a:p>
            </p:txBody>
          </p:sp>
        </p:grpSp>
        <p:sp>
          <p:nvSpPr>
            <p:cNvPr id="33" name="TextBox 68"/>
            <p:cNvSpPr txBox="1"/>
            <p:nvPr/>
          </p:nvSpPr>
          <p:spPr>
            <a:xfrm>
              <a:off x="8142973" y="4297055"/>
              <a:ext cx="1010287" cy="753994"/>
            </a:xfrm>
            <a:prstGeom prst="rect">
              <a:avLst/>
            </a:prstGeom>
            <a:noFill/>
          </p:spPr>
          <p:txBody>
            <a:bodyPr wrap="square" rtlCol="0">
              <a:spAutoFit/>
            </a:bodyPr>
            <a:lstStyle/>
            <a:p>
              <a:r>
                <a:rPr lang="en-US" altLang="zh-CN" sz="3600" b="1" dirty="0">
                  <a:solidFill>
                    <a:srgbClr val="223B7E"/>
                  </a:solidFill>
                  <a:latin typeface="DFGothic-EB" panose="02010609010101010101" pitchFamily="1" charset="-128"/>
                  <a:ea typeface="DFGothic-EB" panose="02010609010101010101" pitchFamily="1" charset="-128"/>
                </a:rPr>
                <a:t>04</a:t>
              </a:r>
              <a:endParaRPr lang="zh-CN" altLang="en-US" sz="3600" b="1" dirty="0">
                <a:solidFill>
                  <a:srgbClr val="223B7E"/>
                </a:solidFill>
                <a:latin typeface="DFGothic-EB" panose="02010609010101010101" pitchFamily="1" charset="-128"/>
                <a:ea typeface="DFGothic-EB" panose="02010609010101010101" pitchFamily="1" charset="-128"/>
              </a:endParaRPr>
            </a:p>
          </p:txBody>
        </p:sp>
      </p:grpSp>
      <p:grpSp>
        <p:nvGrpSpPr>
          <p:cNvPr id="38" name="组合 37"/>
          <p:cNvGrpSpPr/>
          <p:nvPr/>
        </p:nvGrpSpPr>
        <p:grpSpPr>
          <a:xfrm>
            <a:off x="2617083" y="4773503"/>
            <a:ext cx="2157064" cy="769443"/>
            <a:chOff x="2326693" y="4927865"/>
            <a:chExt cx="1539461" cy="678737"/>
          </a:xfrm>
        </p:grpSpPr>
        <p:sp>
          <p:nvSpPr>
            <p:cNvPr id="39" name="TextBox 74"/>
            <p:cNvSpPr txBox="1"/>
            <p:nvPr/>
          </p:nvSpPr>
          <p:spPr>
            <a:xfrm>
              <a:off x="2328257" y="4927865"/>
              <a:ext cx="1537897" cy="407242"/>
            </a:xfrm>
            <a:prstGeom prst="rect">
              <a:avLst/>
            </a:prstGeom>
            <a:noFill/>
          </p:spPr>
          <p:txBody>
            <a:bodyPr wrap="square" rtlCol="0">
              <a:spAutoFit/>
            </a:bodyPr>
            <a:lstStyle/>
            <a:p>
              <a:r>
                <a:rPr lang="zh-CN" altLang="en-US" sz="2400" dirty="0">
                  <a:solidFill>
                    <a:schemeClr val="bg1"/>
                  </a:solidFill>
                  <a:latin typeface="等线 Light" panose="02010600030101010101" pitchFamily="2" charset="-122"/>
                  <a:ea typeface="等线 Light" panose="02010600030101010101" pitchFamily="2" charset="-122"/>
                </a:rPr>
                <a:t>添加标题</a:t>
              </a:r>
            </a:p>
          </p:txBody>
        </p:sp>
        <p:sp>
          <p:nvSpPr>
            <p:cNvPr id="40" name="TextBox 75"/>
            <p:cNvSpPr txBox="1"/>
            <p:nvPr/>
          </p:nvSpPr>
          <p:spPr>
            <a:xfrm>
              <a:off x="2326693" y="5335107"/>
              <a:ext cx="1469875" cy="271495"/>
            </a:xfrm>
            <a:prstGeom prst="rect">
              <a:avLst/>
            </a:prstGeom>
            <a:noFill/>
          </p:spPr>
          <p:txBody>
            <a:bodyPr wrap="square" rtlCol="0">
              <a:spAutoFit/>
            </a:bodyPr>
            <a:lstStyle/>
            <a:p>
              <a:r>
                <a:rPr lang="en-US" altLang="zh-CN" sz="1400" dirty="0">
                  <a:solidFill>
                    <a:schemeClr val="bg1"/>
                  </a:solidFill>
                  <a:latin typeface="方正粗倩简体" pitchFamily="65" charset="-122"/>
                  <a:ea typeface="方正粗倩简体" pitchFamily="65" charset="-122"/>
                </a:rPr>
                <a:t>WORKREPORT</a:t>
              </a:r>
              <a:endParaRPr lang="zh-CN" altLang="en-US" sz="1400" dirty="0">
                <a:solidFill>
                  <a:schemeClr val="bg1"/>
                </a:solidFill>
                <a:latin typeface="方正粗倩简体" pitchFamily="65" charset="-122"/>
                <a:ea typeface="方正粗倩简体" pitchFamily="65" charset="-122"/>
              </a:endParaRPr>
            </a:p>
          </p:txBody>
        </p:sp>
      </p:grpSp>
      <p:grpSp>
        <p:nvGrpSpPr>
          <p:cNvPr id="60" name="组合 59"/>
          <p:cNvGrpSpPr/>
          <p:nvPr/>
        </p:nvGrpSpPr>
        <p:grpSpPr>
          <a:xfrm>
            <a:off x="4793779" y="2935991"/>
            <a:ext cx="2157064" cy="769443"/>
            <a:chOff x="2326693" y="4927865"/>
            <a:chExt cx="1539461" cy="678737"/>
          </a:xfrm>
        </p:grpSpPr>
        <p:sp>
          <p:nvSpPr>
            <p:cNvPr id="61" name="TextBox 74"/>
            <p:cNvSpPr txBox="1"/>
            <p:nvPr/>
          </p:nvSpPr>
          <p:spPr>
            <a:xfrm>
              <a:off x="2328257" y="4927865"/>
              <a:ext cx="1537897" cy="407242"/>
            </a:xfrm>
            <a:prstGeom prst="rect">
              <a:avLst/>
            </a:prstGeom>
            <a:noFill/>
          </p:spPr>
          <p:txBody>
            <a:bodyPr wrap="square" rtlCol="0">
              <a:spAutoFit/>
            </a:bodyPr>
            <a:lstStyle/>
            <a:p>
              <a:r>
                <a:rPr lang="zh-CN" altLang="en-US" sz="2400" dirty="0">
                  <a:solidFill>
                    <a:schemeClr val="bg1"/>
                  </a:solidFill>
                  <a:latin typeface="等线 Light" panose="02010600030101010101" pitchFamily="2" charset="-122"/>
                  <a:ea typeface="等线 Light" panose="02010600030101010101" pitchFamily="2" charset="-122"/>
                </a:rPr>
                <a:t>添加标题</a:t>
              </a:r>
            </a:p>
          </p:txBody>
        </p:sp>
        <p:sp>
          <p:nvSpPr>
            <p:cNvPr id="62" name="TextBox 75"/>
            <p:cNvSpPr txBox="1"/>
            <p:nvPr/>
          </p:nvSpPr>
          <p:spPr>
            <a:xfrm>
              <a:off x="2326693" y="5335107"/>
              <a:ext cx="1469875" cy="271495"/>
            </a:xfrm>
            <a:prstGeom prst="rect">
              <a:avLst/>
            </a:prstGeom>
            <a:noFill/>
          </p:spPr>
          <p:txBody>
            <a:bodyPr wrap="square" rtlCol="0">
              <a:spAutoFit/>
            </a:bodyPr>
            <a:lstStyle/>
            <a:p>
              <a:r>
                <a:rPr lang="en-US" altLang="zh-CN" sz="1400" dirty="0">
                  <a:solidFill>
                    <a:schemeClr val="bg1"/>
                  </a:solidFill>
                  <a:latin typeface="方正粗倩简体" pitchFamily="65" charset="-122"/>
                  <a:ea typeface="方正粗倩简体" pitchFamily="65" charset="-122"/>
                </a:rPr>
                <a:t>WORKREPORT</a:t>
              </a:r>
              <a:endParaRPr lang="zh-CN" altLang="en-US" sz="1400" dirty="0">
                <a:solidFill>
                  <a:schemeClr val="bg1"/>
                </a:solidFill>
                <a:latin typeface="方正粗倩简体" pitchFamily="65" charset="-122"/>
                <a:ea typeface="方正粗倩简体" pitchFamily="65" charset="-122"/>
              </a:endParaRPr>
            </a:p>
          </p:txBody>
        </p:sp>
      </p:grpSp>
      <p:grpSp>
        <p:nvGrpSpPr>
          <p:cNvPr id="63" name="组合 62"/>
          <p:cNvGrpSpPr/>
          <p:nvPr/>
        </p:nvGrpSpPr>
        <p:grpSpPr>
          <a:xfrm>
            <a:off x="6235443" y="4879472"/>
            <a:ext cx="2157064" cy="769443"/>
            <a:chOff x="2326693" y="4927865"/>
            <a:chExt cx="1539461" cy="678737"/>
          </a:xfrm>
        </p:grpSpPr>
        <p:sp>
          <p:nvSpPr>
            <p:cNvPr id="64" name="TextBox 74"/>
            <p:cNvSpPr txBox="1"/>
            <p:nvPr/>
          </p:nvSpPr>
          <p:spPr>
            <a:xfrm>
              <a:off x="2328257" y="4927865"/>
              <a:ext cx="1537897" cy="407242"/>
            </a:xfrm>
            <a:prstGeom prst="rect">
              <a:avLst/>
            </a:prstGeom>
            <a:noFill/>
          </p:spPr>
          <p:txBody>
            <a:bodyPr wrap="square" rtlCol="0">
              <a:spAutoFit/>
            </a:bodyPr>
            <a:lstStyle/>
            <a:p>
              <a:r>
                <a:rPr lang="zh-CN" altLang="en-US" sz="2400" dirty="0">
                  <a:solidFill>
                    <a:schemeClr val="bg1"/>
                  </a:solidFill>
                  <a:latin typeface="等线 Light" panose="02010600030101010101" pitchFamily="2" charset="-122"/>
                  <a:ea typeface="等线 Light" panose="02010600030101010101" pitchFamily="2" charset="-122"/>
                </a:rPr>
                <a:t>添加标题</a:t>
              </a:r>
            </a:p>
          </p:txBody>
        </p:sp>
        <p:sp>
          <p:nvSpPr>
            <p:cNvPr id="65" name="TextBox 75"/>
            <p:cNvSpPr txBox="1"/>
            <p:nvPr/>
          </p:nvSpPr>
          <p:spPr>
            <a:xfrm>
              <a:off x="2326693" y="5335107"/>
              <a:ext cx="1469875" cy="271495"/>
            </a:xfrm>
            <a:prstGeom prst="rect">
              <a:avLst/>
            </a:prstGeom>
            <a:noFill/>
          </p:spPr>
          <p:txBody>
            <a:bodyPr wrap="square" rtlCol="0">
              <a:spAutoFit/>
            </a:bodyPr>
            <a:lstStyle/>
            <a:p>
              <a:r>
                <a:rPr lang="en-US" altLang="zh-CN" sz="1400" dirty="0">
                  <a:solidFill>
                    <a:schemeClr val="bg1"/>
                  </a:solidFill>
                  <a:latin typeface="方正粗倩简体" pitchFamily="65" charset="-122"/>
                  <a:ea typeface="方正粗倩简体" pitchFamily="65" charset="-122"/>
                </a:rPr>
                <a:t>WORKREPORT</a:t>
              </a:r>
              <a:endParaRPr lang="zh-CN" altLang="en-US" sz="1400" dirty="0">
                <a:solidFill>
                  <a:schemeClr val="bg1"/>
                </a:solidFill>
                <a:latin typeface="方正粗倩简体" pitchFamily="65" charset="-122"/>
                <a:ea typeface="方正粗倩简体" pitchFamily="65" charset="-122"/>
              </a:endParaRPr>
            </a:p>
          </p:txBody>
        </p:sp>
      </p:grpSp>
      <p:grpSp>
        <p:nvGrpSpPr>
          <p:cNvPr id="66" name="组合 65"/>
          <p:cNvGrpSpPr/>
          <p:nvPr/>
        </p:nvGrpSpPr>
        <p:grpSpPr>
          <a:xfrm>
            <a:off x="7932522" y="2950910"/>
            <a:ext cx="2157064" cy="769443"/>
            <a:chOff x="2326693" y="4927865"/>
            <a:chExt cx="1539461" cy="678737"/>
          </a:xfrm>
        </p:grpSpPr>
        <p:sp>
          <p:nvSpPr>
            <p:cNvPr id="67" name="TextBox 74"/>
            <p:cNvSpPr txBox="1"/>
            <p:nvPr/>
          </p:nvSpPr>
          <p:spPr>
            <a:xfrm>
              <a:off x="2328257" y="4927865"/>
              <a:ext cx="1537897" cy="407242"/>
            </a:xfrm>
            <a:prstGeom prst="rect">
              <a:avLst/>
            </a:prstGeom>
            <a:noFill/>
          </p:spPr>
          <p:txBody>
            <a:bodyPr wrap="square" rtlCol="0">
              <a:spAutoFit/>
            </a:bodyPr>
            <a:lstStyle/>
            <a:p>
              <a:r>
                <a:rPr lang="zh-CN" altLang="en-US" sz="2400" dirty="0">
                  <a:solidFill>
                    <a:schemeClr val="bg1"/>
                  </a:solidFill>
                  <a:latin typeface="等线 Light" panose="02010600030101010101" pitchFamily="2" charset="-122"/>
                  <a:ea typeface="等线 Light" panose="02010600030101010101" pitchFamily="2" charset="-122"/>
                </a:rPr>
                <a:t>添加标题</a:t>
              </a:r>
            </a:p>
          </p:txBody>
        </p:sp>
        <p:sp>
          <p:nvSpPr>
            <p:cNvPr id="68" name="TextBox 75"/>
            <p:cNvSpPr txBox="1"/>
            <p:nvPr/>
          </p:nvSpPr>
          <p:spPr>
            <a:xfrm>
              <a:off x="2326693" y="5335107"/>
              <a:ext cx="1469875" cy="271495"/>
            </a:xfrm>
            <a:prstGeom prst="rect">
              <a:avLst/>
            </a:prstGeom>
            <a:noFill/>
          </p:spPr>
          <p:txBody>
            <a:bodyPr wrap="square" rtlCol="0">
              <a:spAutoFit/>
            </a:bodyPr>
            <a:lstStyle/>
            <a:p>
              <a:r>
                <a:rPr lang="en-US" altLang="zh-CN" sz="1400" dirty="0">
                  <a:solidFill>
                    <a:schemeClr val="bg1"/>
                  </a:solidFill>
                  <a:latin typeface="方正粗倩简体" pitchFamily="65" charset="-122"/>
                  <a:ea typeface="方正粗倩简体" pitchFamily="65" charset="-122"/>
                </a:rPr>
                <a:t>WORKREPORT</a:t>
              </a:r>
              <a:endParaRPr lang="zh-CN" altLang="en-US" sz="1400" dirty="0">
                <a:solidFill>
                  <a:schemeClr val="bg1"/>
                </a:solidFill>
                <a:latin typeface="方正粗倩简体" pitchFamily="65" charset="-122"/>
                <a:ea typeface="方正粗倩简体" pitchFamily="65" charset="-122"/>
              </a:endParaRPr>
            </a:p>
          </p:txBody>
        </p:sp>
      </p:grp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32790109"/>
      </p:ext>
    </p:extLst>
  </p:cSld>
  <p:clrMapOvr>
    <a:masterClrMapping/>
  </p:clrMapOvr>
  <mc:AlternateContent xmlns:mc="http://schemas.openxmlformats.org/markup-compatibility/2006" xmlns:p14="http://schemas.microsoft.com/office/powerpoint/2010/main">
    <mc:Choice Requires="p14">
      <p:transition spd="slow" p14:dur="1200" advTm="1190">
        <p:dissolve/>
      </p:transition>
    </mc:Choice>
    <mc:Fallback xmlns="">
      <p:transition spd="slow" advTm="119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par>
                                <p:cTn id="7" presetID="56" presetClass="entr" presetSubtype="0" fill="hold" grpId="0" nodeType="withEffect">
                                  <p:stCondLst>
                                    <p:cond delay="1000"/>
                                  </p:stCondLst>
                                  <p:iterate type="lt">
                                    <p:tmPct val="10000"/>
                                  </p:iterate>
                                  <p:childTnLst>
                                    <p:set>
                                      <p:cBhvr>
                                        <p:cTn id="8" dur="1" fill="hold">
                                          <p:stCondLst>
                                            <p:cond delay="0"/>
                                          </p:stCondLst>
                                        </p:cTn>
                                        <p:tgtEl>
                                          <p:spTgt spid="7"/>
                                        </p:tgtEl>
                                        <p:attrNameLst>
                                          <p:attrName>style.visibility</p:attrName>
                                        </p:attrNameLst>
                                      </p:cBhvr>
                                      <p:to>
                                        <p:strVal val="visible"/>
                                      </p:to>
                                    </p:set>
                                    <p:anim by="(-#ppt_w*2)" calcmode="lin" valueType="num">
                                      <p:cBhvr rctx="PPT">
                                        <p:cTn id="9" dur="500" autoRev="1" fill="hold">
                                          <p:stCondLst>
                                            <p:cond delay="0"/>
                                          </p:stCondLst>
                                        </p:cTn>
                                        <p:tgtEl>
                                          <p:spTgt spid="7"/>
                                        </p:tgtEl>
                                        <p:attrNameLst>
                                          <p:attrName>ppt_w</p:attrName>
                                        </p:attrNameLst>
                                      </p:cBhvr>
                                    </p:anim>
                                    <p:anim by="(#ppt_w*0.50)" calcmode="lin" valueType="num">
                                      <p:cBhvr>
                                        <p:cTn id="10" dur="500" decel="50000" autoRev="1" fill="hold">
                                          <p:stCondLst>
                                            <p:cond delay="0"/>
                                          </p:stCondLst>
                                        </p:cTn>
                                        <p:tgtEl>
                                          <p:spTgt spid="7"/>
                                        </p:tgtEl>
                                        <p:attrNameLst>
                                          <p:attrName>ppt_x</p:attrName>
                                        </p:attrNameLst>
                                      </p:cBhvr>
                                    </p:anim>
                                    <p:anim from="(-#ppt_h/2)" to="(#ppt_y)" calcmode="lin" valueType="num">
                                      <p:cBhvr>
                                        <p:cTn id="11" dur="1000" fill="hold">
                                          <p:stCondLst>
                                            <p:cond delay="0"/>
                                          </p:stCondLst>
                                        </p:cTn>
                                        <p:tgtEl>
                                          <p:spTgt spid="7"/>
                                        </p:tgtEl>
                                        <p:attrNameLst>
                                          <p:attrName>ppt_y</p:attrName>
                                        </p:attrNameLst>
                                      </p:cBhvr>
                                    </p:anim>
                                    <p:animRot by="21600000">
                                      <p:cBhvr>
                                        <p:cTn id="12" dur="1000" fill="hold">
                                          <p:stCondLst>
                                            <p:cond delay="0"/>
                                          </p:stCondLst>
                                        </p:cTn>
                                        <p:tgtEl>
                                          <p:spTgt spid="7"/>
                                        </p:tgtEl>
                                        <p:attrNameLst>
                                          <p:attrName>r</p:attrName>
                                        </p:attrNameLst>
                                      </p:cBhvr>
                                    </p:animRot>
                                  </p:childTnLst>
                                </p:cTn>
                              </p:par>
                              <p:par>
                                <p:cTn id="13" presetID="22" presetClass="entr" presetSubtype="8" fill="hold" grpId="0" nodeType="withEffect">
                                  <p:stCondLst>
                                    <p:cond delay="150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2100"/>
                            </p:stCondLst>
                            <p:childTnLst>
                              <p:par>
                                <p:cTn id="17" presetID="2" presetClass="entr" presetSubtype="3" accel="5200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2000" fill="hold"/>
                                        <p:tgtEl>
                                          <p:spTgt spid="10"/>
                                        </p:tgtEl>
                                        <p:attrNameLst>
                                          <p:attrName>ppt_x</p:attrName>
                                        </p:attrNameLst>
                                      </p:cBhvr>
                                      <p:tavLst>
                                        <p:tav tm="0">
                                          <p:val>
                                            <p:strVal val="1+#ppt_w/2"/>
                                          </p:val>
                                        </p:tav>
                                        <p:tav tm="100000">
                                          <p:val>
                                            <p:strVal val="#ppt_x"/>
                                          </p:val>
                                        </p:tav>
                                      </p:tavLst>
                                    </p:anim>
                                    <p:anim calcmode="lin" valueType="num">
                                      <p:cBhvr additive="base">
                                        <p:cTn id="20" dur="20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2" accel="5200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2000" fill="hold"/>
                                        <p:tgtEl>
                                          <p:spTgt spid="17"/>
                                        </p:tgtEl>
                                        <p:attrNameLst>
                                          <p:attrName>ppt_x</p:attrName>
                                        </p:attrNameLst>
                                      </p:cBhvr>
                                      <p:tavLst>
                                        <p:tav tm="0">
                                          <p:val>
                                            <p:strVal val="0-#ppt_w/2"/>
                                          </p:val>
                                        </p:tav>
                                        <p:tav tm="100000">
                                          <p:val>
                                            <p:strVal val="#ppt_x"/>
                                          </p:val>
                                        </p:tav>
                                      </p:tavLst>
                                    </p:anim>
                                    <p:anim calcmode="lin" valueType="num">
                                      <p:cBhvr additive="base">
                                        <p:cTn id="24" dur="2000" fill="hold"/>
                                        <p:tgtEl>
                                          <p:spTgt spid="17"/>
                                        </p:tgtEl>
                                        <p:attrNameLst>
                                          <p:attrName>ppt_y</p:attrName>
                                        </p:attrNameLst>
                                      </p:cBhvr>
                                      <p:tavLst>
                                        <p:tav tm="0">
                                          <p:val>
                                            <p:strVal val="1+#ppt_h/2"/>
                                          </p:val>
                                        </p:tav>
                                        <p:tav tm="100000">
                                          <p:val>
                                            <p:strVal val="#ppt_y"/>
                                          </p:val>
                                        </p:tav>
                                      </p:tavLst>
                                    </p:anim>
                                  </p:childTnLst>
                                </p:cTn>
                              </p:par>
                              <p:par>
                                <p:cTn id="25" presetID="2" presetClass="entr" presetSubtype="3" accel="5200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2000" fill="hold"/>
                                        <p:tgtEl>
                                          <p:spTgt spid="24"/>
                                        </p:tgtEl>
                                        <p:attrNameLst>
                                          <p:attrName>ppt_x</p:attrName>
                                        </p:attrNameLst>
                                      </p:cBhvr>
                                      <p:tavLst>
                                        <p:tav tm="0">
                                          <p:val>
                                            <p:strVal val="1+#ppt_w/2"/>
                                          </p:val>
                                        </p:tav>
                                        <p:tav tm="100000">
                                          <p:val>
                                            <p:strVal val="#ppt_x"/>
                                          </p:val>
                                        </p:tav>
                                      </p:tavLst>
                                    </p:anim>
                                    <p:anim calcmode="lin" valueType="num">
                                      <p:cBhvr additive="base">
                                        <p:cTn id="28" dur="2000" fill="hold"/>
                                        <p:tgtEl>
                                          <p:spTgt spid="24"/>
                                        </p:tgtEl>
                                        <p:attrNameLst>
                                          <p:attrName>ppt_y</p:attrName>
                                        </p:attrNameLst>
                                      </p:cBhvr>
                                      <p:tavLst>
                                        <p:tav tm="0">
                                          <p:val>
                                            <p:strVal val="0-#ppt_h/2"/>
                                          </p:val>
                                        </p:tav>
                                        <p:tav tm="100000">
                                          <p:val>
                                            <p:strVal val="#ppt_y"/>
                                          </p:val>
                                        </p:tav>
                                      </p:tavLst>
                                    </p:anim>
                                  </p:childTnLst>
                                </p:cTn>
                              </p:par>
                              <p:par>
                                <p:cTn id="29" presetID="2" presetClass="entr" presetSubtype="12" accel="5200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2000" fill="hold"/>
                                        <p:tgtEl>
                                          <p:spTgt spid="31"/>
                                        </p:tgtEl>
                                        <p:attrNameLst>
                                          <p:attrName>ppt_x</p:attrName>
                                        </p:attrNameLst>
                                      </p:cBhvr>
                                      <p:tavLst>
                                        <p:tav tm="0">
                                          <p:val>
                                            <p:strVal val="0-#ppt_w/2"/>
                                          </p:val>
                                        </p:tav>
                                        <p:tav tm="100000">
                                          <p:val>
                                            <p:strVal val="#ppt_x"/>
                                          </p:val>
                                        </p:tav>
                                      </p:tavLst>
                                    </p:anim>
                                    <p:anim calcmode="lin" valueType="num">
                                      <p:cBhvr additive="base">
                                        <p:cTn id="32" dur="2000" fill="hold"/>
                                        <p:tgtEl>
                                          <p:spTgt spid="31"/>
                                        </p:tgtEl>
                                        <p:attrNameLst>
                                          <p:attrName>ppt_y</p:attrName>
                                        </p:attrNameLst>
                                      </p:cBhvr>
                                      <p:tavLst>
                                        <p:tav tm="0">
                                          <p:val>
                                            <p:strVal val="1+#ppt_h/2"/>
                                          </p:val>
                                        </p:tav>
                                        <p:tav tm="100000">
                                          <p:val>
                                            <p:strVal val="#ppt_y"/>
                                          </p:val>
                                        </p:tav>
                                      </p:tavLst>
                                    </p:anim>
                                  </p:childTnLst>
                                </p:cTn>
                              </p:par>
                              <p:par>
                                <p:cTn id="33" presetID="42" presetClass="entr" presetSubtype="0" fill="hold" nodeType="withEffect">
                                  <p:stCondLst>
                                    <p:cond delay="140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1000"/>
                                        <p:tgtEl>
                                          <p:spTgt spid="38"/>
                                        </p:tgtEl>
                                      </p:cBhvr>
                                    </p:animEffect>
                                    <p:anim calcmode="lin" valueType="num">
                                      <p:cBhvr>
                                        <p:cTn id="36" dur="1000" fill="hold"/>
                                        <p:tgtEl>
                                          <p:spTgt spid="38"/>
                                        </p:tgtEl>
                                        <p:attrNameLst>
                                          <p:attrName>ppt_x</p:attrName>
                                        </p:attrNameLst>
                                      </p:cBhvr>
                                      <p:tavLst>
                                        <p:tav tm="0">
                                          <p:val>
                                            <p:strVal val="#ppt_x"/>
                                          </p:val>
                                        </p:tav>
                                        <p:tav tm="100000">
                                          <p:val>
                                            <p:strVal val="#ppt_x"/>
                                          </p:val>
                                        </p:tav>
                                      </p:tavLst>
                                    </p:anim>
                                    <p:anim calcmode="lin" valueType="num">
                                      <p:cBhvr>
                                        <p:cTn id="37" dur="1000" fill="hold"/>
                                        <p:tgtEl>
                                          <p:spTgt spid="38"/>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1400"/>
                                  </p:stCondLst>
                                  <p:childTnLst>
                                    <p:set>
                                      <p:cBhvr>
                                        <p:cTn id="39" dur="1" fill="hold">
                                          <p:stCondLst>
                                            <p:cond delay="0"/>
                                          </p:stCondLst>
                                        </p:cTn>
                                        <p:tgtEl>
                                          <p:spTgt spid="60"/>
                                        </p:tgtEl>
                                        <p:attrNameLst>
                                          <p:attrName>style.visibility</p:attrName>
                                        </p:attrNameLst>
                                      </p:cBhvr>
                                      <p:to>
                                        <p:strVal val="visible"/>
                                      </p:to>
                                    </p:set>
                                    <p:animEffect transition="in" filter="fade">
                                      <p:cBhvr>
                                        <p:cTn id="40" dur="1000"/>
                                        <p:tgtEl>
                                          <p:spTgt spid="60"/>
                                        </p:tgtEl>
                                      </p:cBhvr>
                                    </p:animEffect>
                                    <p:anim calcmode="lin" valueType="num">
                                      <p:cBhvr>
                                        <p:cTn id="41" dur="1000" fill="hold"/>
                                        <p:tgtEl>
                                          <p:spTgt spid="60"/>
                                        </p:tgtEl>
                                        <p:attrNameLst>
                                          <p:attrName>ppt_x</p:attrName>
                                        </p:attrNameLst>
                                      </p:cBhvr>
                                      <p:tavLst>
                                        <p:tav tm="0">
                                          <p:val>
                                            <p:strVal val="#ppt_x"/>
                                          </p:val>
                                        </p:tav>
                                        <p:tav tm="100000">
                                          <p:val>
                                            <p:strVal val="#ppt_x"/>
                                          </p:val>
                                        </p:tav>
                                      </p:tavLst>
                                    </p:anim>
                                    <p:anim calcmode="lin" valueType="num">
                                      <p:cBhvr>
                                        <p:cTn id="42" dur="1000" fill="hold"/>
                                        <p:tgtEl>
                                          <p:spTgt spid="60"/>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1400"/>
                                  </p:stCondLst>
                                  <p:childTnLst>
                                    <p:set>
                                      <p:cBhvr>
                                        <p:cTn id="44" dur="1" fill="hold">
                                          <p:stCondLst>
                                            <p:cond delay="0"/>
                                          </p:stCondLst>
                                        </p:cTn>
                                        <p:tgtEl>
                                          <p:spTgt spid="63"/>
                                        </p:tgtEl>
                                        <p:attrNameLst>
                                          <p:attrName>style.visibility</p:attrName>
                                        </p:attrNameLst>
                                      </p:cBhvr>
                                      <p:to>
                                        <p:strVal val="visible"/>
                                      </p:to>
                                    </p:set>
                                    <p:animEffect transition="in" filter="fade">
                                      <p:cBhvr>
                                        <p:cTn id="45" dur="1000"/>
                                        <p:tgtEl>
                                          <p:spTgt spid="63"/>
                                        </p:tgtEl>
                                      </p:cBhvr>
                                    </p:animEffect>
                                    <p:anim calcmode="lin" valueType="num">
                                      <p:cBhvr>
                                        <p:cTn id="46" dur="1000" fill="hold"/>
                                        <p:tgtEl>
                                          <p:spTgt spid="63"/>
                                        </p:tgtEl>
                                        <p:attrNameLst>
                                          <p:attrName>ppt_x</p:attrName>
                                        </p:attrNameLst>
                                      </p:cBhvr>
                                      <p:tavLst>
                                        <p:tav tm="0">
                                          <p:val>
                                            <p:strVal val="#ppt_x"/>
                                          </p:val>
                                        </p:tav>
                                        <p:tav tm="100000">
                                          <p:val>
                                            <p:strVal val="#ppt_x"/>
                                          </p:val>
                                        </p:tav>
                                      </p:tavLst>
                                    </p:anim>
                                    <p:anim calcmode="lin" valueType="num">
                                      <p:cBhvr>
                                        <p:cTn id="47" dur="1000" fill="hold"/>
                                        <p:tgtEl>
                                          <p:spTgt spid="63"/>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1400"/>
                                  </p:stCondLst>
                                  <p:childTnLst>
                                    <p:set>
                                      <p:cBhvr>
                                        <p:cTn id="49" dur="1" fill="hold">
                                          <p:stCondLst>
                                            <p:cond delay="0"/>
                                          </p:stCondLst>
                                        </p:cTn>
                                        <p:tgtEl>
                                          <p:spTgt spid="66"/>
                                        </p:tgtEl>
                                        <p:attrNameLst>
                                          <p:attrName>style.visibility</p:attrName>
                                        </p:attrNameLst>
                                      </p:cBhvr>
                                      <p:to>
                                        <p:strVal val="visible"/>
                                      </p:to>
                                    </p:set>
                                    <p:animEffect transition="in" filter="fade">
                                      <p:cBhvr>
                                        <p:cTn id="50" dur="1000"/>
                                        <p:tgtEl>
                                          <p:spTgt spid="66"/>
                                        </p:tgtEl>
                                      </p:cBhvr>
                                    </p:animEffect>
                                    <p:anim calcmode="lin" valueType="num">
                                      <p:cBhvr>
                                        <p:cTn id="51" dur="1000" fill="hold"/>
                                        <p:tgtEl>
                                          <p:spTgt spid="66"/>
                                        </p:tgtEl>
                                        <p:attrNameLst>
                                          <p:attrName>ppt_x</p:attrName>
                                        </p:attrNameLst>
                                      </p:cBhvr>
                                      <p:tavLst>
                                        <p:tav tm="0">
                                          <p:val>
                                            <p:strVal val="#ppt_x"/>
                                          </p:val>
                                        </p:tav>
                                        <p:tav tm="100000">
                                          <p:val>
                                            <p:strVal val="#ppt_x"/>
                                          </p:val>
                                        </p:tav>
                                      </p:tavLst>
                                    </p:anim>
                                    <p:anim calcmode="lin" valueType="num">
                                      <p:cBhvr>
                                        <p:cTn id="52"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3" fill="hold" display="0">
                  <p:stCondLst>
                    <p:cond delay="indefinite"/>
                  </p:stCondLst>
                  <p:endCondLst>
                    <p:cond evt="onStopAudio" delay="0">
                      <p:tgtEl>
                        <p:sldTgt/>
                      </p:tgtEl>
                    </p:cond>
                  </p:endCondLst>
                </p:cTn>
                <p:tgtEl>
                  <p:spTgt spid="3"/>
                </p:tgtEl>
              </p:cMediaNode>
            </p:audio>
          </p:childTnLst>
        </p:cTn>
      </p:par>
    </p:tnLst>
    <p:bldLst>
      <p:bldP spid="7"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KSO_Shape"/>
          <p:cNvSpPr/>
          <p:nvPr/>
        </p:nvSpPr>
        <p:spPr>
          <a:xfrm>
            <a:off x="612121" y="2421362"/>
            <a:ext cx="2736189" cy="2068199"/>
          </a:xfrm>
          <a:prstGeom prst="wave">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13">
              <a:solidFill>
                <a:srgbClr val="FFFFFF"/>
              </a:solidFill>
            </a:endParaRPr>
          </a:p>
        </p:txBody>
      </p:sp>
      <p:sp>
        <p:nvSpPr>
          <p:cNvPr id="3" name="KSO_Shape"/>
          <p:cNvSpPr/>
          <p:nvPr/>
        </p:nvSpPr>
        <p:spPr>
          <a:xfrm>
            <a:off x="3338588" y="2443807"/>
            <a:ext cx="2736189" cy="2068199"/>
          </a:xfrm>
          <a:prstGeom prst="wave">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13" dirty="0">
              <a:solidFill>
                <a:srgbClr val="FFFFFF"/>
              </a:solidFill>
            </a:endParaRPr>
          </a:p>
        </p:txBody>
      </p:sp>
      <p:sp>
        <p:nvSpPr>
          <p:cNvPr id="4" name="KSO_Shape"/>
          <p:cNvSpPr/>
          <p:nvPr/>
        </p:nvSpPr>
        <p:spPr>
          <a:xfrm>
            <a:off x="6074777" y="2466252"/>
            <a:ext cx="2736189" cy="2068199"/>
          </a:xfrm>
          <a:prstGeom prst="wave">
            <a:avLst/>
          </a:prstGeom>
          <a:blipFill dpi="0" rotWithShape="1">
            <a:blip r:embed="rId7"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13">
              <a:solidFill>
                <a:srgbClr val="FFFFFF"/>
              </a:solidFill>
            </a:endParaRPr>
          </a:p>
        </p:txBody>
      </p:sp>
      <p:sp>
        <p:nvSpPr>
          <p:cNvPr id="5" name="KSO_Shape"/>
          <p:cNvSpPr/>
          <p:nvPr/>
        </p:nvSpPr>
        <p:spPr>
          <a:xfrm>
            <a:off x="8801244" y="2488697"/>
            <a:ext cx="2736189" cy="2068199"/>
          </a:xfrm>
          <a:prstGeom prst="wave">
            <a:avLst/>
          </a:prstGeom>
          <a:blipFill dpi="0" rotWithShape="1">
            <a:blip r:embed="rId8"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13">
              <a:solidFill>
                <a:srgbClr val="FFFFFF"/>
              </a:solidFill>
            </a:endParaRPr>
          </a:p>
        </p:txBody>
      </p:sp>
      <p:sp>
        <p:nvSpPr>
          <p:cNvPr id="6" name="矩形 5"/>
          <p:cNvSpPr/>
          <p:nvPr/>
        </p:nvSpPr>
        <p:spPr>
          <a:xfrm>
            <a:off x="1379476" y="5013449"/>
            <a:ext cx="1683163" cy="307777"/>
          </a:xfrm>
          <a:prstGeom prst="rect">
            <a:avLst/>
          </a:prstGeom>
        </p:spPr>
        <p:txBody>
          <a:bodyPr wrap="square">
            <a:spAutoFit/>
          </a:bodyPr>
          <a:lstStyle/>
          <a:p>
            <a:pPr lvl="0"/>
            <a:r>
              <a:rPr lang="zh-CN" altLang="en-US" sz="1400" b="1" dirty="0">
                <a:solidFill>
                  <a:schemeClr val="bg1"/>
                </a:solidFill>
                <a:latin typeface="等线 Light" panose="02010600030101010101" pitchFamily="2" charset="-122"/>
                <a:ea typeface="等线 Light" panose="02010600030101010101" pitchFamily="2" charset="-122"/>
              </a:rPr>
              <a:t>请添加内容</a:t>
            </a:r>
          </a:p>
        </p:txBody>
      </p:sp>
      <p:sp>
        <p:nvSpPr>
          <p:cNvPr id="7" name="矩形 6"/>
          <p:cNvSpPr/>
          <p:nvPr/>
        </p:nvSpPr>
        <p:spPr>
          <a:xfrm>
            <a:off x="731883" y="5321226"/>
            <a:ext cx="2448743" cy="713016"/>
          </a:xfrm>
          <a:prstGeom prst="rect">
            <a:avLst/>
          </a:prstGeom>
        </p:spPr>
        <p:txBody>
          <a:bodyPr wrap="square">
            <a:spAutoFit/>
          </a:bodyPr>
          <a:lstStyle/>
          <a:p>
            <a:pPr algn="ctr">
              <a:lnSpc>
                <a:spcPct val="120000"/>
              </a:lnSpc>
            </a:pPr>
            <a:r>
              <a:rPr lang="zh-CN" altLang="en-US" sz="1200" dirty="0">
                <a:solidFill>
                  <a:schemeClr val="bg1"/>
                </a:solidFill>
                <a:latin typeface="等线 Light" panose="02010600030101010101" pitchFamily="2" charset="-122"/>
                <a:ea typeface="等线 Light" panose="02010600030101010101" pitchFamily="2" charset="-122"/>
              </a:rPr>
              <a:t>可通过右键选择只保留文本来粘贴您的内容。</a:t>
            </a:r>
          </a:p>
          <a:p>
            <a:pPr>
              <a:lnSpc>
                <a:spcPct val="120000"/>
              </a:lnSpc>
            </a:pPr>
            <a:endParaRPr lang="zh-CN" altLang="en-US" sz="1050" dirty="0">
              <a:solidFill>
                <a:schemeClr val="tx1">
                  <a:lumMod val="75000"/>
                  <a:lumOff val="25000"/>
                </a:schemeClr>
              </a:solidFill>
              <a:latin typeface="微软雅黑" pitchFamily="34" charset="-122"/>
              <a:ea typeface="微软雅黑" pitchFamily="34" charset="-122"/>
            </a:endParaRPr>
          </a:p>
        </p:txBody>
      </p:sp>
      <p:sp>
        <p:nvSpPr>
          <p:cNvPr id="14" name="矩形 13"/>
          <p:cNvSpPr/>
          <p:nvPr/>
        </p:nvSpPr>
        <p:spPr>
          <a:xfrm>
            <a:off x="3986181" y="5013449"/>
            <a:ext cx="1683163" cy="307777"/>
          </a:xfrm>
          <a:prstGeom prst="rect">
            <a:avLst/>
          </a:prstGeom>
        </p:spPr>
        <p:txBody>
          <a:bodyPr wrap="square">
            <a:spAutoFit/>
          </a:bodyPr>
          <a:lstStyle/>
          <a:p>
            <a:pPr lvl="0"/>
            <a:r>
              <a:rPr lang="zh-CN" altLang="en-US" sz="1400" b="1" dirty="0">
                <a:solidFill>
                  <a:schemeClr val="bg1"/>
                </a:solidFill>
                <a:latin typeface="等线 Light" panose="02010600030101010101" pitchFamily="2" charset="-122"/>
                <a:ea typeface="等线 Light" panose="02010600030101010101" pitchFamily="2" charset="-122"/>
              </a:rPr>
              <a:t>请添加内容</a:t>
            </a:r>
          </a:p>
        </p:txBody>
      </p:sp>
      <p:sp>
        <p:nvSpPr>
          <p:cNvPr id="15" name="矩形 14"/>
          <p:cNvSpPr/>
          <p:nvPr/>
        </p:nvSpPr>
        <p:spPr>
          <a:xfrm>
            <a:off x="3338588" y="5321226"/>
            <a:ext cx="2448743" cy="713016"/>
          </a:xfrm>
          <a:prstGeom prst="rect">
            <a:avLst/>
          </a:prstGeom>
        </p:spPr>
        <p:txBody>
          <a:bodyPr wrap="square">
            <a:spAutoFit/>
          </a:bodyPr>
          <a:lstStyle/>
          <a:p>
            <a:pPr algn="ctr">
              <a:lnSpc>
                <a:spcPct val="120000"/>
              </a:lnSpc>
            </a:pPr>
            <a:r>
              <a:rPr lang="zh-CN" altLang="en-US" sz="1200" dirty="0">
                <a:solidFill>
                  <a:schemeClr val="bg1"/>
                </a:solidFill>
                <a:latin typeface="等线 Light" panose="02010600030101010101" pitchFamily="2" charset="-122"/>
                <a:ea typeface="等线 Light" panose="02010600030101010101" pitchFamily="2" charset="-122"/>
              </a:rPr>
              <a:t>可通过右键选择只保留文本来粘贴您的内容。</a:t>
            </a:r>
          </a:p>
          <a:p>
            <a:pPr>
              <a:lnSpc>
                <a:spcPct val="120000"/>
              </a:lnSpc>
            </a:pPr>
            <a:endParaRPr lang="zh-CN" altLang="en-US" sz="1050" dirty="0">
              <a:solidFill>
                <a:schemeClr val="tx1">
                  <a:lumMod val="75000"/>
                  <a:lumOff val="25000"/>
                </a:schemeClr>
              </a:solidFill>
              <a:latin typeface="微软雅黑" pitchFamily="34" charset="-122"/>
              <a:ea typeface="微软雅黑" pitchFamily="34" charset="-122"/>
            </a:endParaRPr>
          </a:p>
        </p:txBody>
      </p:sp>
      <p:sp>
        <p:nvSpPr>
          <p:cNvPr id="16" name="矩形 15"/>
          <p:cNvSpPr/>
          <p:nvPr/>
        </p:nvSpPr>
        <p:spPr>
          <a:xfrm>
            <a:off x="6861232" y="4968201"/>
            <a:ext cx="1683163" cy="307777"/>
          </a:xfrm>
          <a:prstGeom prst="rect">
            <a:avLst/>
          </a:prstGeom>
        </p:spPr>
        <p:txBody>
          <a:bodyPr wrap="square">
            <a:spAutoFit/>
          </a:bodyPr>
          <a:lstStyle/>
          <a:p>
            <a:pPr lvl="0"/>
            <a:r>
              <a:rPr lang="zh-CN" altLang="en-US" sz="1400" b="1" dirty="0">
                <a:solidFill>
                  <a:schemeClr val="bg1"/>
                </a:solidFill>
                <a:latin typeface="等线 Light" panose="02010600030101010101" pitchFamily="2" charset="-122"/>
                <a:ea typeface="等线 Light" panose="02010600030101010101" pitchFamily="2" charset="-122"/>
              </a:rPr>
              <a:t>请添加内容</a:t>
            </a:r>
          </a:p>
        </p:txBody>
      </p:sp>
      <p:sp>
        <p:nvSpPr>
          <p:cNvPr id="17" name="矩形 16"/>
          <p:cNvSpPr/>
          <p:nvPr/>
        </p:nvSpPr>
        <p:spPr>
          <a:xfrm>
            <a:off x="6213639" y="5275978"/>
            <a:ext cx="2448743" cy="713016"/>
          </a:xfrm>
          <a:prstGeom prst="rect">
            <a:avLst/>
          </a:prstGeom>
        </p:spPr>
        <p:txBody>
          <a:bodyPr wrap="square">
            <a:spAutoFit/>
          </a:bodyPr>
          <a:lstStyle/>
          <a:p>
            <a:pPr algn="ctr">
              <a:lnSpc>
                <a:spcPct val="120000"/>
              </a:lnSpc>
            </a:pPr>
            <a:r>
              <a:rPr lang="zh-CN" altLang="en-US" sz="1200" dirty="0">
                <a:solidFill>
                  <a:schemeClr val="bg1"/>
                </a:solidFill>
                <a:latin typeface="等线 Light" panose="02010600030101010101" pitchFamily="2" charset="-122"/>
                <a:ea typeface="等线 Light" panose="02010600030101010101" pitchFamily="2" charset="-122"/>
              </a:rPr>
              <a:t>可通过右键选择只保留文本来粘贴您的内容。</a:t>
            </a:r>
          </a:p>
          <a:p>
            <a:pPr>
              <a:lnSpc>
                <a:spcPct val="120000"/>
              </a:lnSpc>
            </a:pPr>
            <a:endParaRPr lang="zh-CN" altLang="en-US" sz="1050" dirty="0">
              <a:solidFill>
                <a:schemeClr val="tx1">
                  <a:lumMod val="75000"/>
                  <a:lumOff val="25000"/>
                </a:schemeClr>
              </a:solidFill>
              <a:latin typeface="微软雅黑" pitchFamily="34" charset="-122"/>
              <a:ea typeface="微软雅黑" pitchFamily="34" charset="-122"/>
            </a:endParaRPr>
          </a:p>
        </p:txBody>
      </p:sp>
      <p:sp>
        <p:nvSpPr>
          <p:cNvPr id="18" name="矩形 17"/>
          <p:cNvSpPr/>
          <p:nvPr/>
        </p:nvSpPr>
        <p:spPr>
          <a:xfrm>
            <a:off x="9736283" y="4968201"/>
            <a:ext cx="1683163" cy="307777"/>
          </a:xfrm>
          <a:prstGeom prst="rect">
            <a:avLst/>
          </a:prstGeom>
        </p:spPr>
        <p:txBody>
          <a:bodyPr wrap="square">
            <a:spAutoFit/>
          </a:bodyPr>
          <a:lstStyle/>
          <a:p>
            <a:pPr lvl="0"/>
            <a:r>
              <a:rPr lang="zh-CN" altLang="en-US" sz="1400" b="1" dirty="0">
                <a:solidFill>
                  <a:schemeClr val="bg1"/>
                </a:solidFill>
                <a:latin typeface="等线 Light" panose="02010600030101010101" pitchFamily="2" charset="-122"/>
                <a:ea typeface="等线 Light" panose="02010600030101010101" pitchFamily="2" charset="-122"/>
              </a:rPr>
              <a:t>请添加内容</a:t>
            </a:r>
          </a:p>
        </p:txBody>
      </p:sp>
      <p:sp>
        <p:nvSpPr>
          <p:cNvPr id="19" name="矩形 18"/>
          <p:cNvSpPr/>
          <p:nvPr/>
        </p:nvSpPr>
        <p:spPr>
          <a:xfrm>
            <a:off x="9088690" y="5275978"/>
            <a:ext cx="2448743" cy="713016"/>
          </a:xfrm>
          <a:prstGeom prst="rect">
            <a:avLst/>
          </a:prstGeom>
        </p:spPr>
        <p:txBody>
          <a:bodyPr wrap="square">
            <a:spAutoFit/>
          </a:bodyPr>
          <a:lstStyle/>
          <a:p>
            <a:pPr algn="ctr">
              <a:lnSpc>
                <a:spcPct val="120000"/>
              </a:lnSpc>
            </a:pPr>
            <a:r>
              <a:rPr lang="zh-CN" altLang="en-US" sz="1200" dirty="0">
                <a:solidFill>
                  <a:schemeClr val="bg1"/>
                </a:solidFill>
                <a:latin typeface="等线 Light" panose="02010600030101010101" pitchFamily="2" charset="-122"/>
                <a:ea typeface="等线 Light" panose="02010600030101010101" pitchFamily="2" charset="-122"/>
              </a:rPr>
              <a:t>可通过右键选择只保留文本来粘贴您的内容。</a:t>
            </a:r>
          </a:p>
          <a:p>
            <a:pPr>
              <a:lnSpc>
                <a:spcPct val="120000"/>
              </a:lnSpc>
            </a:pPr>
            <a:endParaRPr lang="zh-CN" altLang="en-US" sz="1050" dirty="0">
              <a:solidFill>
                <a:schemeClr val="tx1">
                  <a:lumMod val="75000"/>
                  <a:lumOff val="25000"/>
                </a:schemeClr>
              </a:solidFill>
              <a:latin typeface="微软雅黑" pitchFamily="34" charset="-122"/>
              <a:ea typeface="微软雅黑" pitchFamily="34" charset="-122"/>
            </a:endParaRPr>
          </a:p>
        </p:txBody>
      </p:sp>
      <p:sp>
        <p:nvSpPr>
          <p:cNvPr id="20"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21"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2"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9" name="音频 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3606673852"/>
      </p:ext>
    </p:extLst>
  </p:cSld>
  <p:clrMapOvr>
    <a:masterClrMapping/>
  </p:clrMapOvr>
  <mc:AlternateContent xmlns:mc="http://schemas.openxmlformats.org/markup-compatibility/2006" xmlns:p14="http://schemas.microsoft.com/office/powerpoint/2010/main">
    <mc:Choice Requires="p14">
      <p:transition spd="slow" p14:dur="1200" advTm="1514">
        <p:dissolve/>
      </p:transition>
    </mc:Choice>
    <mc:Fallback xmlns="">
      <p:transition spd="slow" advTm="1514">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par>
                          <p:cTn id="7" fill="hold">
                            <p:stCondLst>
                              <p:cond delay="0"/>
                            </p:stCondLst>
                            <p:childTnLst>
                              <p:par>
                                <p:cTn id="8" presetID="22" presetClass="entr" presetSubtype="8"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left)">
                                      <p:cBhvr>
                                        <p:cTn id="10" dur="500"/>
                                        <p:tgtEl>
                                          <p:spTgt spid="2"/>
                                        </p:tgtEl>
                                      </p:cBhvr>
                                    </p:animEffect>
                                  </p:childTnLst>
                                </p:cTn>
                              </p:par>
                            </p:childTnLst>
                          </p:cTn>
                        </p:par>
                        <p:par>
                          <p:cTn id="11" fill="hold">
                            <p:stCondLst>
                              <p:cond delay="500"/>
                            </p:stCondLst>
                            <p:childTnLst>
                              <p:par>
                                <p:cTn id="12" presetID="23" presetClass="entr" presetSubtype="16" fill="hold" grpId="0" nodeType="afterEffect">
                                  <p:stCondLst>
                                    <p:cond delay="0"/>
                                  </p:stCondLst>
                                  <p:iterate type="lt">
                                    <p:tmPct val="10000"/>
                                  </p:iterate>
                                  <p:childTnLst>
                                    <p:set>
                                      <p:cBhvr>
                                        <p:cTn id="13" dur="1" fill="hold">
                                          <p:stCondLst>
                                            <p:cond delay="0"/>
                                          </p:stCondLst>
                                        </p:cTn>
                                        <p:tgtEl>
                                          <p:spTgt spid="6"/>
                                        </p:tgtEl>
                                        <p:attrNameLst>
                                          <p:attrName>style.visibility</p:attrName>
                                        </p:attrNameLst>
                                      </p:cBhvr>
                                      <p:to>
                                        <p:strVal val="visible"/>
                                      </p:to>
                                    </p:set>
                                    <p:anim calcmode="lin" valueType="num">
                                      <p:cBhvr>
                                        <p:cTn id="14" dur="250" fill="hold"/>
                                        <p:tgtEl>
                                          <p:spTgt spid="6"/>
                                        </p:tgtEl>
                                        <p:attrNameLst>
                                          <p:attrName>ppt_w</p:attrName>
                                        </p:attrNameLst>
                                      </p:cBhvr>
                                      <p:tavLst>
                                        <p:tav tm="0">
                                          <p:val>
                                            <p:fltVal val="0"/>
                                          </p:val>
                                        </p:tav>
                                        <p:tav tm="100000">
                                          <p:val>
                                            <p:strVal val="#ppt_w"/>
                                          </p:val>
                                        </p:tav>
                                      </p:tavLst>
                                    </p:anim>
                                    <p:anim calcmode="lin" valueType="num">
                                      <p:cBhvr>
                                        <p:cTn id="15" dur="250" fill="hold"/>
                                        <p:tgtEl>
                                          <p:spTgt spid="6"/>
                                        </p:tgtEl>
                                        <p:attrNameLst>
                                          <p:attrName>ppt_h</p:attrName>
                                        </p:attrNameLst>
                                      </p:cBhvr>
                                      <p:tavLst>
                                        <p:tav tm="0">
                                          <p:val>
                                            <p:fltVal val="0"/>
                                          </p:val>
                                        </p:tav>
                                        <p:tav tm="100000">
                                          <p:val>
                                            <p:strVal val="#ppt_h"/>
                                          </p:val>
                                        </p:tav>
                                      </p:tavLst>
                                    </p:anim>
                                  </p:childTnLst>
                                </p:cTn>
                              </p:par>
                            </p:childTnLst>
                          </p:cTn>
                        </p:par>
                        <p:par>
                          <p:cTn id="16" fill="hold">
                            <p:stCondLst>
                              <p:cond delay="850"/>
                            </p:stCondLst>
                            <p:childTnLst>
                              <p:par>
                                <p:cTn id="17" presetID="14" presetClass="entr" presetSubtype="1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randombar(horizontal)">
                                      <p:cBhvr>
                                        <p:cTn id="19" dur="250"/>
                                        <p:tgtEl>
                                          <p:spTgt spid="7"/>
                                        </p:tgtEl>
                                      </p:cBhvr>
                                    </p:animEffect>
                                  </p:childTnLst>
                                </p:cTn>
                              </p:par>
                            </p:childTnLst>
                          </p:cTn>
                        </p:par>
                        <p:par>
                          <p:cTn id="20" fill="hold">
                            <p:stCondLst>
                              <p:cond delay="1100"/>
                            </p:stCondLst>
                            <p:childTnLst>
                              <p:par>
                                <p:cTn id="21" presetID="22" presetClass="entr" presetSubtype="8"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left)">
                                      <p:cBhvr>
                                        <p:cTn id="23" dur="500"/>
                                        <p:tgtEl>
                                          <p:spTgt spid="3"/>
                                        </p:tgtEl>
                                      </p:cBhvr>
                                    </p:animEffect>
                                  </p:childTnLst>
                                </p:cTn>
                              </p:par>
                            </p:childTnLst>
                          </p:cTn>
                        </p:par>
                        <p:par>
                          <p:cTn id="24" fill="hold">
                            <p:stCondLst>
                              <p:cond delay="1600"/>
                            </p:stCondLst>
                            <p:childTnLst>
                              <p:par>
                                <p:cTn id="25" presetID="22" presetClass="entr" presetSubtype="8" fill="hold" grpId="0" nodeType="after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wipe(left)">
                                      <p:cBhvr>
                                        <p:cTn id="27" dur="500"/>
                                        <p:tgtEl>
                                          <p:spTgt spid="4"/>
                                        </p:tgtEl>
                                      </p:cBhvr>
                                    </p:animEffect>
                                  </p:childTnLst>
                                </p:cTn>
                              </p:par>
                            </p:childTnLst>
                          </p:cTn>
                        </p:par>
                        <p:par>
                          <p:cTn id="28" fill="hold">
                            <p:stCondLst>
                              <p:cond delay="2100"/>
                            </p:stCondLst>
                            <p:childTnLst>
                              <p:par>
                                <p:cTn id="29" presetID="22" presetClass="entr" presetSubtype="8" fill="hold" grpId="0"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left)">
                                      <p:cBhvr>
                                        <p:cTn id="31" dur="500"/>
                                        <p:tgtEl>
                                          <p:spTgt spid="5"/>
                                        </p:tgtEl>
                                      </p:cBhvr>
                                    </p:animEffect>
                                  </p:childTnLst>
                                </p:cTn>
                              </p:par>
                            </p:childTnLst>
                          </p:cTn>
                        </p:par>
                        <p:par>
                          <p:cTn id="32" fill="hold">
                            <p:stCondLst>
                              <p:cond delay="2600"/>
                            </p:stCondLst>
                            <p:childTnLst>
                              <p:par>
                                <p:cTn id="33" presetID="23" presetClass="entr" presetSubtype="16" fill="hold" grpId="0" nodeType="afterEffect">
                                  <p:stCondLst>
                                    <p:cond delay="0"/>
                                  </p:stCondLst>
                                  <p:iterate type="lt">
                                    <p:tmPct val="10000"/>
                                  </p:iterate>
                                  <p:childTnLst>
                                    <p:set>
                                      <p:cBhvr>
                                        <p:cTn id="34" dur="1" fill="hold">
                                          <p:stCondLst>
                                            <p:cond delay="0"/>
                                          </p:stCondLst>
                                        </p:cTn>
                                        <p:tgtEl>
                                          <p:spTgt spid="14"/>
                                        </p:tgtEl>
                                        <p:attrNameLst>
                                          <p:attrName>style.visibility</p:attrName>
                                        </p:attrNameLst>
                                      </p:cBhvr>
                                      <p:to>
                                        <p:strVal val="visible"/>
                                      </p:to>
                                    </p:set>
                                    <p:anim calcmode="lin" valueType="num">
                                      <p:cBhvr>
                                        <p:cTn id="35" dur="250" fill="hold"/>
                                        <p:tgtEl>
                                          <p:spTgt spid="14"/>
                                        </p:tgtEl>
                                        <p:attrNameLst>
                                          <p:attrName>ppt_w</p:attrName>
                                        </p:attrNameLst>
                                      </p:cBhvr>
                                      <p:tavLst>
                                        <p:tav tm="0">
                                          <p:val>
                                            <p:fltVal val="0"/>
                                          </p:val>
                                        </p:tav>
                                        <p:tav tm="100000">
                                          <p:val>
                                            <p:strVal val="#ppt_w"/>
                                          </p:val>
                                        </p:tav>
                                      </p:tavLst>
                                    </p:anim>
                                    <p:anim calcmode="lin" valueType="num">
                                      <p:cBhvr>
                                        <p:cTn id="36" dur="250" fill="hold"/>
                                        <p:tgtEl>
                                          <p:spTgt spid="14"/>
                                        </p:tgtEl>
                                        <p:attrNameLst>
                                          <p:attrName>ppt_h</p:attrName>
                                        </p:attrNameLst>
                                      </p:cBhvr>
                                      <p:tavLst>
                                        <p:tav tm="0">
                                          <p:val>
                                            <p:fltVal val="0"/>
                                          </p:val>
                                        </p:tav>
                                        <p:tav tm="100000">
                                          <p:val>
                                            <p:strVal val="#ppt_h"/>
                                          </p:val>
                                        </p:tav>
                                      </p:tavLst>
                                    </p:anim>
                                  </p:childTnLst>
                                </p:cTn>
                              </p:par>
                            </p:childTnLst>
                          </p:cTn>
                        </p:par>
                        <p:par>
                          <p:cTn id="37" fill="hold">
                            <p:stCondLst>
                              <p:cond delay="2950"/>
                            </p:stCondLst>
                            <p:childTnLst>
                              <p:par>
                                <p:cTn id="38" presetID="14" presetClass="entr" presetSubtype="1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randombar(horizontal)">
                                      <p:cBhvr>
                                        <p:cTn id="40" dur="250"/>
                                        <p:tgtEl>
                                          <p:spTgt spid="15"/>
                                        </p:tgtEl>
                                      </p:cBhvr>
                                    </p:animEffect>
                                  </p:childTnLst>
                                </p:cTn>
                              </p:par>
                            </p:childTnLst>
                          </p:cTn>
                        </p:par>
                        <p:par>
                          <p:cTn id="41" fill="hold">
                            <p:stCondLst>
                              <p:cond delay="3200"/>
                            </p:stCondLst>
                            <p:childTnLst>
                              <p:par>
                                <p:cTn id="42" presetID="23" presetClass="entr" presetSubtype="16" fill="hold" grpId="0" nodeType="afterEffect">
                                  <p:stCondLst>
                                    <p:cond delay="0"/>
                                  </p:stCondLst>
                                  <p:iterate type="lt">
                                    <p:tmPct val="10000"/>
                                  </p:iterate>
                                  <p:childTnLst>
                                    <p:set>
                                      <p:cBhvr>
                                        <p:cTn id="43" dur="1" fill="hold">
                                          <p:stCondLst>
                                            <p:cond delay="0"/>
                                          </p:stCondLst>
                                        </p:cTn>
                                        <p:tgtEl>
                                          <p:spTgt spid="16"/>
                                        </p:tgtEl>
                                        <p:attrNameLst>
                                          <p:attrName>style.visibility</p:attrName>
                                        </p:attrNameLst>
                                      </p:cBhvr>
                                      <p:to>
                                        <p:strVal val="visible"/>
                                      </p:to>
                                    </p:set>
                                    <p:anim calcmode="lin" valueType="num">
                                      <p:cBhvr>
                                        <p:cTn id="44" dur="250" fill="hold"/>
                                        <p:tgtEl>
                                          <p:spTgt spid="16"/>
                                        </p:tgtEl>
                                        <p:attrNameLst>
                                          <p:attrName>ppt_w</p:attrName>
                                        </p:attrNameLst>
                                      </p:cBhvr>
                                      <p:tavLst>
                                        <p:tav tm="0">
                                          <p:val>
                                            <p:fltVal val="0"/>
                                          </p:val>
                                        </p:tav>
                                        <p:tav tm="100000">
                                          <p:val>
                                            <p:strVal val="#ppt_w"/>
                                          </p:val>
                                        </p:tav>
                                      </p:tavLst>
                                    </p:anim>
                                    <p:anim calcmode="lin" valueType="num">
                                      <p:cBhvr>
                                        <p:cTn id="45" dur="250" fill="hold"/>
                                        <p:tgtEl>
                                          <p:spTgt spid="16"/>
                                        </p:tgtEl>
                                        <p:attrNameLst>
                                          <p:attrName>ppt_h</p:attrName>
                                        </p:attrNameLst>
                                      </p:cBhvr>
                                      <p:tavLst>
                                        <p:tav tm="0">
                                          <p:val>
                                            <p:fltVal val="0"/>
                                          </p:val>
                                        </p:tav>
                                        <p:tav tm="100000">
                                          <p:val>
                                            <p:strVal val="#ppt_h"/>
                                          </p:val>
                                        </p:tav>
                                      </p:tavLst>
                                    </p:anim>
                                  </p:childTnLst>
                                </p:cTn>
                              </p:par>
                            </p:childTnLst>
                          </p:cTn>
                        </p:par>
                        <p:par>
                          <p:cTn id="46" fill="hold">
                            <p:stCondLst>
                              <p:cond delay="3550"/>
                            </p:stCondLst>
                            <p:childTnLst>
                              <p:par>
                                <p:cTn id="47" presetID="14" presetClass="entr" presetSubtype="10"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randombar(horizontal)">
                                      <p:cBhvr>
                                        <p:cTn id="49" dur="250"/>
                                        <p:tgtEl>
                                          <p:spTgt spid="17"/>
                                        </p:tgtEl>
                                      </p:cBhvr>
                                    </p:animEffect>
                                  </p:childTnLst>
                                </p:cTn>
                              </p:par>
                            </p:childTnLst>
                          </p:cTn>
                        </p:par>
                        <p:par>
                          <p:cTn id="50" fill="hold">
                            <p:stCondLst>
                              <p:cond delay="3800"/>
                            </p:stCondLst>
                            <p:childTnLst>
                              <p:par>
                                <p:cTn id="51" presetID="23" presetClass="entr" presetSubtype="16" fill="hold" grpId="0" nodeType="afterEffect">
                                  <p:stCondLst>
                                    <p:cond delay="0"/>
                                  </p:stCondLst>
                                  <p:iterate type="lt">
                                    <p:tmPct val="10000"/>
                                  </p:iterate>
                                  <p:childTnLst>
                                    <p:set>
                                      <p:cBhvr>
                                        <p:cTn id="52" dur="1" fill="hold">
                                          <p:stCondLst>
                                            <p:cond delay="0"/>
                                          </p:stCondLst>
                                        </p:cTn>
                                        <p:tgtEl>
                                          <p:spTgt spid="18"/>
                                        </p:tgtEl>
                                        <p:attrNameLst>
                                          <p:attrName>style.visibility</p:attrName>
                                        </p:attrNameLst>
                                      </p:cBhvr>
                                      <p:to>
                                        <p:strVal val="visible"/>
                                      </p:to>
                                    </p:set>
                                    <p:anim calcmode="lin" valueType="num">
                                      <p:cBhvr>
                                        <p:cTn id="53" dur="250" fill="hold"/>
                                        <p:tgtEl>
                                          <p:spTgt spid="18"/>
                                        </p:tgtEl>
                                        <p:attrNameLst>
                                          <p:attrName>ppt_w</p:attrName>
                                        </p:attrNameLst>
                                      </p:cBhvr>
                                      <p:tavLst>
                                        <p:tav tm="0">
                                          <p:val>
                                            <p:fltVal val="0"/>
                                          </p:val>
                                        </p:tav>
                                        <p:tav tm="100000">
                                          <p:val>
                                            <p:strVal val="#ppt_w"/>
                                          </p:val>
                                        </p:tav>
                                      </p:tavLst>
                                    </p:anim>
                                    <p:anim calcmode="lin" valueType="num">
                                      <p:cBhvr>
                                        <p:cTn id="54" dur="250" fill="hold"/>
                                        <p:tgtEl>
                                          <p:spTgt spid="18"/>
                                        </p:tgtEl>
                                        <p:attrNameLst>
                                          <p:attrName>ppt_h</p:attrName>
                                        </p:attrNameLst>
                                      </p:cBhvr>
                                      <p:tavLst>
                                        <p:tav tm="0">
                                          <p:val>
                                            <p:fltVal val="0"/>
                                          </p:val>
                                        </p:tav>
                                        <p:tav tm="100000">
                                          <p:val>
                                            <p:strVal val="#ppt_h"/>
                                          </p:val>
                                        </p:tav>
                                      </p:tavLst>
                                    </p:anim>
                                  </p:childTnLst>
                                </p:cTn>
                              </p:par>
                            </p:childTnLst>
                          </p:cTn>
                        </p:par>
                        <p:par>
                          <p:cTn id="55" fill="hold">
                            <p:stCondLst>
                              <p:cond delay="4150"/>
                            </p:stCondLst>
                            <p:childTnLst>
                              <p:par>
                                <p:cTn id="56" presetID="14" presetClass="entr" presetSubtype="10" fill="hold" grpId="0" nodeType="after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randombar(horizontal)">
                                      <p:cBhvr>
                                        <p:cTn id="58" dur="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9" fill="hold" display="0">
                  <p:stCondLst>
                    <p:cond delay="indefinite"/>
                  </p:stCondLst>
                  <p:endCondLst>
                    <p:cond evt="onStopAudio" delay="0">
                      <p:tgtEl>
                        <p:sldTgt/>
                      </p:tgtEl>
                    </p:cond>
                  </p:endCondLst>
                </p:cTn>
                <p:tgtEl>
                  <p:spTgt spid="9"/>
                </p:tgtEl>
              </p:cMediaNode>
            </p:audio>
          </p:childTnLst>
        </p:cTn>
      </p:par>
    </p:tnLst>
    <p:bldLst>
      <p:bldP spid="2" grpId="0" animBg="1"/>
      <p:bldP spid="3" grpId="0" animBg="1"/>
      <p:bldP spid="4" grpId="0" animBg="1"/>
      <p:bldP spid="5" grpId="0" animBg="1"/>
      <p:bldP spid="6" grpId="0"/>
      <p:bldP spid="7" grpId="0"/>
      <p:bldP spid="14" grpId="0"/>
      <p:bldP spid="15" grpId="0"/>
      <p:bldP spid="16" grpId="0"/>
      <p:bldP spid="17" grpId="0"/>
      <p:bldP spid="18" grpId="0"/>
      <p:bldP spid="19"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矩形 1"/>
          <p:cNvSpPr/>
          <p:nvPr/>
        </p:nvSpPr>
        <p:spPr>
          <a:xfrm>
            <a:off x="1021136" y="3846983"/>
            <a:ext cx="8847000" cy="20679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 name="矩形 12"/>
          <p:cNvSpPr/>
          <p:nvPr/>
        </p:nvSpPr>
        <p:spPr>
          <a:xfrm>
            <a:off x="1021136" y="4049505"/>
            <a:ext cx="8788608" cy="206797"/>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 name="组合 3"/>
          <p:cNvGrpSpPr/>
          <p:nvPr/>
        </p:nvGrpSpPr>
        <p:grpSpPr>
          <a:xfrm>
            <a:off x="7763883" y="2279288"/>
            <a:ext cx="3389039" cy="3500026"/>
            <a:chOff x="8404007" y="2126998"/>
            <a:chExt cx="2655206" cy="2742162"/>
          </a:xfrm>
        </p:grpSpPr>
        <p:sp>
          <p:nvSpPr>
            <p:cNvPr id="5" name="椭圆 1"/>
            <p:cNvSpPr/>
            <p:nvPr/>
          </p:nvSpPr>
          <p:spPr>
            <a:xfrm>
              <a:off x="8404007" y="2126998"/>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 name="Group 73"/>
            <p:cNvGrpSpPr/>
            <p:nvPr>
              <p:custDataLst>
                <p:tags r:id="rId3"/>
              </p:custDataLst>
            </p:nvPr>
          </p:nvGrpSpPr>
          <p:grpSpPr>
            <a:xfrm>
              <a:off x="9167718" y="2905458"/>
              <a:ext cx="1127785" cy="451534"/>
              <a:chOff x="683122" y="3143325"/>
              <a:chExt cx="1092016" cy="428533"/>
            </a:xfrm>
          </p:grpSpPr>
          <p:pic>
            <p:nvPicPr>
              <p:cNvPr id="11" name="Picture 74"/>
              <p:cNvPicPr>
                <a:picLocks noChangeAspect="1"/>
              </p:cNvPicPr>
              <p:nvPr/>
            </p:nvPicPr>
            <p:blipFill rotWithShape="1">
              <a:blip r:embed="rId6"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12"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8" name="Picture 76"/>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9" name="矩形 8"/>
            <p:cNvSpPr/>
            <p:nvPr/>
          </p:nvSpPr>
          <p:spPr>
            <a:xfrm>
              <a:off x="8946780" y="2515183"/>
              <a:ext cx="1284966" cy="330945"/>
            </a:xfrm>
            <a:prstGeom prst="rect">
              <a:avLst/>
            </a:prstGeom>
          </p:spPr>
          <p:txBody>
            <a:bodyPr wrap="none">
              <a:spAutoFit/>
            </a:bodyPr>
            <a:lstStyle/>
            <a:p>
              <a:r>
                <a:rPr lang="zh-CN" altLang="en-US" sz="1013" dirty="0">
                  <a:solidFill>
                    <a:schemeClr val="bg1"/>
                  </a:solidFill>
                  <a:latin typeface="微软雅黑" pitchFamily="34" charset="-122"/>
                  <a:ea typeface="微软雅黑" pitchFamily="34" charset="-122"/>
                  <a:cs typeface="华文黑体" pitchFamily="2" charset="-122"/>
                </a:rPr>
                <a:t>单击添加标题</a:t>
              </a:r>
            </a:p>
          </p:txBody>
        </p:sp>
        <p:sp>
          <p:nvSpPr>
            <p:cNvPr id="10" name="矩形 9"/>
            <p:cNvSpPr/>
            <p:nvPr/>
          </p:nvSpPr>
          <p:spPr>
            <a:xfrm>
              <a:off x="8946780" y="3708031"/>
              <a:ext cx="1284966" cy="330945"/>
            </a:xfrm>
            <a:prstGeom prst="rect">
              <a:avLst/>
            </a:prstGeom>
          </p:spPr>
          <p:txBody>
            <a:bodyPr wrap="none">
              <a:spAutoFit/>
            </a:bodyPr>
            <a:lstStyle/>
            <a:p>
              <a:r>
                <a:rPr lang="zh-CN" altLang="en-US" sz="1013" dirty="0">
                  <a:solidFill>
                    <a:schemeClr val="bg1"/>
                  </a:solidFill>
                  <a:latin typeface="微软雅黑" pitchFamily="34" charset="-122"/>
                  <a:ea typeface="微软雅黑" pitchFamily="34" charset="-122"/>
                  <a:cs typeface="华文黑体" pitchFamily="2" charset="-122"/>
                </a:rPr>
                <a:t>单击添加标题</a:t>
              </a:r>
            </a:p>
          </p:txBody>
        </p:sp>
      </p:grpSp>
      <p:sp>
        <p:nvSpPr>
          <p:cNvPr id="13" name="Freeform 91"/>
          <p:cNvSpPr>
            <a:spLocks noEditPoints="1"/>
          </p:cNvSpPr>
          <p:nvPr/>
        </p:nvSpPr>
        <p:spPr bwMode="auto">
          <a:xfrm>
            <a:off x="799176" y="2414746"/>
            <a:ext cx="374201" cy="533557"/>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accent1">
              <a:lumMod val="75000"/>
            </a:schemeClr>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14" name="Freeform 80"/>
          <p:cNvSpPr>
            <a:spLocks noEditPoints="1"/>
          </p:cNvSpPr>
          <p:nvPr/>
        </p:nvSpPr>
        <p:spPr bwMode="auto">
          <a:xfrm>
            <a:off x="799175" y="4406829"/>
            <a:ext cx="374201" cy="531920"/>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accent1">
              <a:lumMod val="50000"/>
            </a:schemeClr>
          </a:solidFill>
          <a:ln>
            <a:noFill/>
          </a:ln>
        </p:spPr>
        <p:txBody>
          <a:bodyPr vert="horz" wrap="square" lIns="51428" tIns="25715" rIns="51428" bIns="25715" numCol="1" anchor="t" anchorCtr="0" compatLnSpc="1">
            <a:prstTxWarp prst="textNoShape">
              <a:avLst/>
            </a:prstTxWarp>
          </a:bodyPr>
          <a:lstStyle/>
          <a:p>
            <a:endParaRPr lang="en-US" sz="1013"/>
          </a:p>
        </p:txBody>
      </p:sp>
      <p:grpSp>
        <p:nvGrpSpPr>
          <p:cNvPr id="15" name="组合 14"/>
          <p:cNvGrpSpPr/>
          <p:nvPr/>
        </p:nvGrpSpPr>
        <p:grpSpPr>
          <a:xfrm>
            <a:off x="902336" y="2267934"/>
            <a:ext cx="10523603" cy="919092"/>
            <a:chOff x="1558702" y="1628800"/>
            <a:chExt cx="8244916" cy="720080"/>
          </a:xfrm>
          <a:solidFill>
            <a:schemeClr val="accent1">
              <a:lumMod val="75000"/>
            </a:schemeClr>
          </a:solidFill>
        </p:grpSpPr>
        <p:cxnSp>
          <p:nvCxnSpPr>
            <p:cNvPr id="16" name="直接连接符 6"/>
            <p:cNvCxnSpPr/>
            <p:nvPr/>
          </p:nvCxnSpPr>
          <p:spPr>
            <a:xfrm>
              <a:off x="1558702" y="1628800"/>
              <a:ext cx="8172908" cy="648072"/>
            </a:xfrm>
            <a:prstGeom prst="bentConnector3">
              <a:avLst>
                <a:gd name="adj1" fmla="val 99935"/>
              </a:avLst>
            </a:prstGeom>
            <a:grpFill/>
            <a:ln>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 name="椭圆 16"/>
            <p:cNvSpPr/>
            <p:nvPr/>
          </p:nvSpPr>
          <p:spPr>
            <a:xfrm>
              <a:off x="9659602" y="2204864"/>
              <a:ext cx="144016" cy="144016"/>
            </a:xfrm>
            <a:prstGeom prst="ellipse">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18" name="组合 17"/>
          <p:cNvGrpSpPr/>
          <p:nvPr/>
        </p:nvGrpSpPr>
        <p:grpSpPr>
          <a:xfrm flipV="1">
            <a:off x="902336" y="4860222"/>
            <a:ext cx="10523603" cy="919092"/>
            <a:chOff x="1558702" y="5301208"/>
            <a:chExt cx="8244916" cy="720080"/>
          </a:xfrm>
          <a:solidFill>
            <a:schemeClr val="accent1">
              <a:lumMod val="50000"/>
            </a:schemeClr>
          </a:solidFill>
        </p:grpSpPr>
        <p:cxnSp>
          <p:nvCxnSpPr>
            <p:cNvPr id="19" name="直接连接符 6"/>
            <p:cNvCxnSpPr/>
            <p:nvPr/>
          </p:nvCxnSpPr>
          <p:spPr>
            <a:xfrm>
              <a:off x="1558702" y="5301208"/>
              <a:ext cx="8172908" cy="648072"/>
            </a:xfrm>
            <a:prstGeom prst="bentConnector3">
              <a:avLst>
                <a:gd name="adj1" fmla="val 99935"/>
              </a:avLst>
            </a:prstGeom>
            <a:grpFill/>
            <a:ln>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9659602" y="5877272"/>
              <a:ext cx="144016" cy="144016"/>
            </a:xfrm>
            <a:prstGeom prst="ellipse">
              <a:avLst/>
            </a:prstGeom>
            <a:gr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21" name="矩形 20"/>
          <p:cNvSpPr/>
          <p:nvPr/>
        </p:nvSpPr>
        <p:spPr>
          <a:xfrm>
            <a:off x="1276537" y="2468027"/>
            <a:ext cx="2824871" cy="323165"/>
          </a:xfrm>
          <a:prstGeom prst="rect">
            <a:avLst/>
          </a:prstGeom>
        </p:spPr>
        <p:txBody>
          <a:bodyPr wrap="square">
            <a:spAutoFit/>
          </a:bodyPr>
          <a:lstStyle/>
          <a:p>
            <a:pPr lvl="0"/>
            <a:r>
              <a:rPr lang="zh-CN" altLang="en-US" sz="1500" b="1" dirty="0">
                <a:solidFill>
                  <a:schemeClr val="bg1"/>
                </a:solidFill>
                <a:latin typeface="等线 Light" panose="02010600030101010101" pitchFamily="2" charset="-122"/>
                <a:ea typeface="等线 Light" panose="02010600030101010101" pitchFamily="2" charset="-122"/>
              </a:rPr>
              <a:t>请添加您的标题</a:t>
            </a:r>
          </a:p>
        </p:txBody>
      </p:sp>
      <p:sp>
        <p:nvSpPr>
          <p:cNvPr id="22" name="矩形 21"/>
          <p:cNvSpPr/>
          <p:nvPr/>
        </p:nvSpPr>
        <p:spPr>
          <a:xfrm>
            <a:off x="1234352" y="2927614"/>
            <a:ext cx="5537779" cy="594778"/>
          </a:xfrm>
          <a:prstGeom prst="rect">
            <a:avLst/>
          </a:prstGeom>
        </p:spPr>
        <p:txBody>
          <a:bodyPr wrap="square">
            <a:spAutoFit/>
          </a:bodyPr>
          <a:lstStyle/>
          <a:p>
            <a:pPr>
              <a:lnSpc>
                <a:spcPct val="120000"/>
              </a:lnSpc>
            </a:pPr>
            <a:r>
              <a:rPr lang="zh-CN" altLang="en-US" sz="1400" dirty="0">
                <a:solidFill>
                  <a:schemeClr val="bg1"/>
                </a:solidFill>
                <a:latin typeface="等线 Light" panose="02010600030101010101" pitchFamily="2" charset="-122"/>
                <a:ea typeface="等线 Light" panose="02010600030101010101" pitchFamily="2" charset="-122"/>
              </a:rPr>
              <a:t>可通过右键选择只保留文本来粘贴您的内容。可通过右键选择只保留文本来粘贴您的内容。可通过右键选择只保留文本来粘贴您的内容。</a:t>
            </a:r>
          </a:p>
        </p:txBody>
      </p:sp>
      <p:sp>
        <p:nvSpPr>
          <p:cNvPr id="23" name="矩形 22"/>
          <p:cNvSpPr/>
          <p:nvPr/>
        </p:nvSpPr>
        <p:spPr>
          <a:xfrm>
            <a:off x="1276536" y="4421429"/>
            <a:ext cx="2824871" cy="323165"/>
          </a:xfrm>
          <a:prstGeom prst="rect">
            <a:avLst/>
          </a:prstGeom>
        </p:spPr>
        <p:txBody>
          <a:bodyPr wrap="square">
            <a:spAutoFit/>
          </a:bodyPr>
          <a:lstStyle/>
          <a:p>
            <a:pPr lvl="0"/>
            <a:r>
              <a:rPr lang="zh-CN" altLang="en-US" sz="1500" b="1" dirty="0">
                <a:solidFill>
                  <a:schemeClr val="bg1"/>
                </a:solidFill>
                <a:latin typeface="等线 Light" panose="02010600030101010101" pitchFamily="2" charset="-122"/>
                <a:ea typeface="等线 Light" panose="02010600030101010101" pitchFamily="2" charset="-122"/>
              </a:rPr>
              <a:t>请添加您的标题</a:t>
            </a:r>
          </a:p>
        </p:txBody>
      </p:sp>
      <p:sp>
        <p:nvSpPr>
          <p:cNvPr id="24" name="矩形 23"/>
          <p:cNvSpPr/>
          <p:nvPr/>
        </p:nvSpPr>
        <p:spPr>
          <a:xfrm>
            <a:off x="1282353" y="4847463"/>
            <a:ext cx="5537779" cy="594778"/>
          </a:xfrm>
          <a:prstGeom prst="rect">
            <a:avLst/>
          </a:prstGeom>
        </p:spPr>
        <p:txBody>
          <a:bodyPr wrap="square">
            <a:spAutoFit/>
          </a:bodyPr>
          <a:lstStyle/>
          <a:p>
            <a:pPr>
              <a:lnSpc>
                <a:spcPct val="120000"/>
              </a:lnSpc>
            </a:pPr>
            <a:r>
              <a:rPr lang="zh-CN" altLang="en-US" sz="1400" dirty="0">
                <a:solidFill>
                  <a:schemeClr val="bg1"/>
                </a:solidFill>
                <a:latin typeface="等线 Light" panose="02010600030101010101" pitchFamily="2" charset="-122"/>
                <a:ea typeface="等线 Light" panose="02010600030101010101" pitchFamily="2" charset="-122"/>
              </a:rPr>
              <a:t>可通过右键选择只保留文本来粘贴您的内容。可通过右键选择只保留文本来粘贴您的内容。可通过右键选择只保留文本来粘贴您的内容。</a:t>
            </a:r>
          </a:p>
        </p:txBody>
      </p:sp>
      <p:sp>
        <p:nvSpPr>
          <p:cNvPr id="25"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26"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29" name="音频 2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811833097"/>
      </p:ext>
    </p:extLst>
  </p:cSld>
  <p:clrMapOvr>
    <a:masterClrMapping/>
  </p:clrMapOvr>
  <mc:AlternateContent xmlns:mc="http://schemas.openxmlformats.org/markup-compatibility/2006" xmlns:p14="http://schemas.microsoft.com/office/powerpoint/2010/main">
    <mc:Choice Requires="p14">
      <p:transition spd="slow" p14:dur="1200" advTm="1404">
        <p:dissolve/>
      </p:transition>
    </mc:Choice>
    <mc:Fallback xmlns="">
      <p:transition spd="slow" advTm="1404">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9"/>
                                        </p:tgtEl>
                                      </p:cBhvr>
                                    </p:cmd>
                                  </p:childTnLst>
                                </p:cTn>
                              </p:par>
                            </p:childTnLst>
                          </p:cTn>
                        </p:par>
                        <p:par>
                          <p:cTn id="7" fill="hold">
                            <p:stCondLst>
                              <p:cond delay="0"/>
                            </p:stCondLst>
                            <p:childTnLst>
                              <p:par>
                                <p:cTn id="8" presetID="53" presetClass="entr" presetSubtype="16" fill="hold" nodeType="after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p:cTn id="10" dur="500" fill="hold"/>
                                        <p:tgtEl>
                                          <p:spTgt spid="4"/>
                                        </p:tgtEl>
                                        <p:attrNameLst>
                                          <p:attrName>ppt_w</p:attrName>
                                        </p:attrNameLst>
                                      </p:cBhvr>
                                      <p:tavLst>
                                        <p:tav tm="0">
                                          <p:val>
                                            <p:fltVal val="0"/>
                                          </p:val>
                                        </p:tav>
                                        <p:tav tm="100000">
                                          <p:val>
                                            <p:strVal val="#ppt_w"/>
                                          </p:val>
                                        </p:tav>
                                      </p:tavLst>
                                    </p:anim>
                                    <p:anim calcmode="lin" valueType="num">
                                      <p:cBhvr>
                                        <p:cTn id="11" dur="500" fill="hold"/>
                                        <p:tgtEl>
                                          <p:spTgt spid="4"/>
                                        </p:tgtEl>
                                        <p:attrNameLst>
                                          <p:attrName>ppt_h</p:attrName>
                                        </p:attrNameLst>
                                      </p:cBhvr>
                                      <p:tavLst>
                                        <p:tav tm="0">
                                          <p:val>
                                            <p:fltVal val="0"/>
                                          </p:val>
                                        </p:tav>
                                        <p:tav tm="100000">
                                          <p:val>
                                            <p:strVal val="#ppt_h"/>
                                          </p:val>
                                        </p:tav>
                                      </p:tavLst>
                                    </p:anim>
                                    <p:animEffect transition="in" filter="fade">
                                      <p:cBhvr>
                                        <p:cTn id="12" dur="500"/>
                                        <p:tgtEl>
                                          <p:spTgt spid="4"/>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wipe(right)">
                                      <p:cBhvr>
                                        <p:cTn id="15" dur="500"/>
                                        <p:tgtEl>
                                          <p:spTgt spid="2"/>
                                        </p:tgtEl>
                                      </p:cBhvr>
                                    </p:animEffect>
                                  </p:childTnLst>
                                </p:cTn>
                              </p:par>
                              <p:par>
                                <p:cTn id="16" presetID="22" presetClass="entr" presetSubtype="2" fill="hold" grpId="0" nodeType="withEffect">
                                  <p:stCondLst>
                                    <p:cond delay="500"/>
                                  </p:stCondLst>
                                  <p:childTnLst>
                                    <p:set>
                                      <p:cBhvr>
                                        <p:cTn id="17" dur="1" fill="hold">
                                          <p:stCondLst>
                                            <p:cond delay="0"/>
                                          </p:stCondLst>
                                        </p:cTn>
                                        <p:tgtEl>
                                          <p:spTgt spid="3"/>
                                        </p:tgtEl>
                                        <p:attrNameLst>
                                          <p:attrName>style.visibility</p:attrName>
                                        </p:attrNameLst>
                                      </p:cBhvr>
                                      <p:to>
                                        <p:strVal val="visible"/>
                                      </p:to>
                                    </p:set>
                                    <p:animEffect transition="in" filter="wipe(right)">
                                      <p:cBhvr>
                                        <p:cTn id="18" dur="500"/>
                                        <p:tgtEl>
                                          <p:spTgt spid="3"/>
                                        </p:tgtEl>
                                      </p:cBhvr>
                                    </p:animEffect>
                                  </p:childTnLst>
                                </p:cTn>
                              </p:par>
                              <p:par>
                                <p:cTn id="19" presetID="22" presetClass="entr" presetSubtype="2" fill="hold" nodeType="withEffect">
                                  <p:stCondLst>
                                    <p:cond delay="500"/>
                                  </p:stCondLst>
                                  <p:childTnLst>
                                    <p:set>
                                      <p:cBhvr>
                                        <p:cTn id="20" dur="1" fill="hold">
                                          <p:stCondLst>
                                            <p:cond delay="0"/>
                                          </p:stCondLst>
                                        </p:cTn>
                                        <p:tgtEl>
                                          <p:spTgt spid="15"/>
                                        </p:tgtEl>
                                        <p:attrNameLst>
                                          <p:attrName>style.visibility</p:attrName>
                                        </p:attrNameLst>
                                      </p:cBhvr>
                                      <p:to>
                                        <p:strVal val="visible"/>
                                      </p:to>
                                    </p:set>
                                    <p:animEffect transition="in" filter="wipe(right)">
                                      <p:cBhvr>
                                        <p:cTn id="21" dur="500"/>
                                        <p:tgtEl>
                                          <p:spTgt spid="15"/>
                                        </p:tgtEl>
                                      </p:cBhvr>
                                    </p:animEffect>
                                  </p:childTnLst>
                                </p:cTn>
                              </p:par>
                              <p:par>
                                <p:cTn id="22" presetID="22" presetClass="entr" presetSubtype="2" fill="hold" nodeType="withEffect">
                                  <p:stCondLst>
                                    <p:cond delay="500"/>
                                  </p:stCondLst>
                                  <p:childTnLst>
                                    <p:set>
                                      <p:cBhvr>
                                        <p:cTn id="23" dur="1" fill="hold">
                                          <p:stCondLst>
                                            <p:cond delay="0"/>
                                          </p:stCondLst>
                                        </p:cTn>
                                        <p:tgtEl>
                                          <p:spTgt spid="18"/>
                                        </p:tgtEl>
                                        <p:attrNameLst>
                                          <p:attrName>style.visibility</p:attrName>
                                        </p:attrNameLst>
                                      </p:cBhvr>
                                      <p:to>
                                        <p:strVal val="visible"/>
                                      </p:to>
                                    </p:set>
                                    <p:animEffect transition="in" filter="wipe(right)">
                                      <p:cBhvr>
                                        <p:cTn id="24" dur="500"/>
                                        <p:tgtEl>
                                          <p:spTgt spid="18"/>
                                        </p:tgtEl>
                                      </p:cBhvr>
                                    </p:animEffect>
                                  </p:childTnLst>
                                </p:cTn>
                              </p:par>
                              <p:par>
                                <p:cTn id="25" presetID="22" presetClass="entr" presetSubtype="2" fill="hold" grpId="0" nodeType="withEffect">
                                  <p:stCondLst>
                                    <p:cond delay="1000"/>
                                  </p:stCondLst>
                                  <p:childTnLst>
                                    <p:set>
                                      <p:cBhvr>
                                        <p:cTn id="26" dur="1" fill="hold">
                                          <p:stCondLst>
                                            <p:cond delay="0"/>
                                          </p:stCondLst>
                                        </p:cTn>
                                        <p:tgtEl>
                                          <p:spTgt spid="13"/>
                                        </p:tgtEl>
                                        <p:attrNameLst>
                                          <p:attrName>style.visibility</p:attrName>
                                        </p:attrNameLst>
                                      </p:cBhvr>
                                      <p:to>
                                        <p:strVal val="visible"/>
                                      </p:to>
                                    </p:set>
                                    <p:animEffect transition="in" filter="wipe(right)">
                                      <p:cBhvr>
                                        <p:cTn id="27" dur="500"/>
                                        <p:tgtEl>
                                          <p:spTgt spid="13"/>
                                        </p:tgtEl>
                                      </p:cBhvr>
                                    </p:animEffect>
                                  </p:childTnLst>
                                </p:cTn>
                              </p:par>
                              <p:par>
                                <p:cTn id="28" presetID="22" presetClass="entr" presetSubtype="2" fill="hold" grpId="0"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wipe(right)">
                                      <p:cBhvr>
                                        <p:cTn id="30" dur="500"/>
                                        <p:tgtEl>
                                          <p:spTgt spid="14"/>
                                        </p:tgtEl>
                                      </p:cBhvr>
                                    </p:animEffect>
                                  </p:childTnLst>
                                </p:cTn>
                              </p:par>
                            </p:childTnLst>
                          </p:cTn>
                        </p:par>
                        <p:par>
                          <p:cTn id="31" fill="hold">
                            <p:stCondLst>
                              <p:cond delay="1500"/>
                            </p:stCondLst>
                            <p:childTnLst>
                              <p:par>
                                <p:cTn id="32" presetID="23" presetClass="entr" presetSubtype="16" fill="hold" grpId="0" nodeType="afterEffect">
                                  <p:stCondLst>
                                    <p:cond delay="0"/>
                                  </p:stCondLst>
                                  <p:iterate type="lt">
                                    <p:tmPct val="10000"/>
                                  </p:iterate>
                                  <p:childTnLst>
                                    <p:set>
                                      <p:cBhvr>
                                        <p:cTn id="33" dur="1" fill="hold">
                                          <p:stCondLst>
                                            <p:cond delay="0"/>
                                          </p:stCondLst>
                                        </p:cTn>
                                        <p:tgtEl>
                                          <p:spTgt spid="21"/>
                                        </p:tgtEl>
                                        <p:attrNameLst>
                                          <p:attrName>style.visibility</p:attrName>
                                        </p:attrNameLst>
                                      </p:cBhvr>
                                      <p:to>
                                        <p:strVal val="visible"/>
                                      </p:to>
                                    </p:set>
                                    <p:anim calcmode="lin" valueType="num">
                                      <p:cBhvr>
                                        <p:cTn id="34" dur="250" fill="hold"/>
                                        <p:tgtEl>
                                          <p:spTgt spid="21"/>
                                        </p:tgtEl>
                                        <p:attrNameLst>
                                          <p:attrName>ppt_w</p:attrName>
                                        </p:attrNameLst>
                                      </p:cBhvr>
                                      <p:tavLst>
                                        <p:tav tm="0">
                                          <p:val>
                                            <p:fltVal val="0"/>
                                          </p:val>
                                        </p:tav>
                                        <p:tav tm="100000">
                                          <p:val>
                                            <p:strVal val="#ppt_w"/>
                                          </p:val>
                                        </p:tav>
                                      </p:tavLst>
                                    </p:anim>
                                    <p:anim calcmode="lin" valueType="num">
                                      <p:cBhvr>
                                        <p:cTn id="35" dur="250" fill="hold"/>
                                        <p:tgtEl>
                                          <p:spTgt spid="21"/>
                                        </p:tgtEl>
                                        <p:attrNameLst>
                                          <p:attrName>ppt_h</p:attrName>
                                        </p:attrNameLst>
                                      </p:cBhvr>
                                      <p:tavLst>
                                        <p:tav tm="0">
                                          <p:val>
                                            <p:fltVal val="0"/>
                                          </p:val>
                                        </p:tav>
                                        <p:tav tm="100000">
                                          <p:val>
                                            <p:strVal val="#ppt_h"/>
                                          </p:val>
                                        </p:tav>
                                      </p:tavLst>
                                    </p:anim>
                                  </p:childTnLst>
                                </p:cTn>
                              </p:par>
                            </p:childTnLst>
                          </p:cTn>
                        </p:par>
                        <p:par>
                          <p:cTn id="36" fill="hold">
                            <p:stCondLst>
                              <p:cond delay="1900"/>
                            </p:stCondLst>
                            <p:childTnLst>
                              <p:par>
                                <p:cTn id="37" presetID="14" presetClass="entr" presetSubtype="10"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randombar(horizontal)">
                                      <p:cBhvr>
                                        <p:cTn id="39" dur="250"/>
                                        <p:tgtEl>
                                          <p:spTgt spid="22"/>
                                        </p:tgtEl>
                                      </p:cBhvr>
                                    </p:animEffect>
                                  </p:childTnLst>
                                </p:cTn>
                              </p:par>
                            </p:childTnLst>
                          </p:cTn>
                        </p:par>
                        <p:par>
                          <p:cTn id="40" fill="hold">
                            <p:stCondLst>
                              <p:cond delay="2150"/>
                            </p:stCondLst>
                            <p:childTnLst>
                              <p:par>
                                <p:cTn id="41" presetID="23" presetClass="entr" presetSubtype="16" fill="hold" grpId="0" nodeType="afterEffect">
                                  <p:stCondLst>
                                    <p:cond delay="0"/>
                                  </p:stCondLst>
                                  <p:iterate type="lt">
                                    <p:tmPct val="10000"/>
                                  </p:iterate>
                                  <p:childTnLst>
                                    <p:set>
                                      <p:cBhvr>
                                        <p:cTn id="42" dur="1" fill="hold">
                                          <p:stCondLst>
                                            <p:cond delay="0"/>
                                          </p:stCondLst>
                                        </p:cTn>
                                        <p:tgtEl>
                                          <p:spTgt spid="23"/>
                                        </p:tgtEl>
                                        <p:attrNameLst>
                                          <p:attrName>style.visibility</p:attrName>
                                        </p:attrNameLst>
                                      </p:cBhvr>
                                      <p:to>
                                        <p:strVal val="visible"/>
                                      </p:to>
                                    </p:set>
                                    <p:anim calcmode="lin" valueType="num">
                                      <p:cBhvr>
                                        <p:cTn id="43" dur="250" fill="hold"/>
                                        <p:tgtEl>
                                          <p:spTgt spid="23"/>
                                        </p:tgtEl>
                                        <p:attrNameLst>
                                          <p:attrName>ppt_w</p:attrName>
                                        </p:attrNameLst>
                                      </p:cBhvr>
                                      <p:tavLst>
                                        <p:tav tm="0">
                                          <p:val>
                                            <p:fltVal val="0"/>
                                          </p:val>
                                        </p:tav>
                                        <p:tav tm="100000">
                                          <p:val>
                                            <p:strVal val="#ppt_w"/>
                                          </p:val>
                                        </p:tav>
                                      </p:tavLst>
                                    </p:anim>
                                    <p:anim calcmode="lin" valueType="num">
                                      <p:cBhvr>
                                        <p:cTn id="44" dur="250" fill="hold"/>
                                        <p:tgtEl>
                                          <p:spTgt spid="23"/>
                                        </p:tgtEl>
                                        <p:attrNameLst>
                                          <p:attrName>ppt_h</p:attrName>
                                        </p:attrNameLst>
                                      </p:cBhvr>
                                      <p:tavLst>
                                        <p:tav tm="0">
                                          <p:val>
                                            <p:fltVal val="0"/>
                                          </p:val>
                                        </p:tav>
                                        <p:tav tm="100000">
                                          <p:val>
                                            <p:strVal val="#ppt_h"/>
                                          </p:val>
                                        </p:tav>
                                      </p:tavLst>
                                    </p:anim>
                                  </p:childTnLst>
                                </p:cTn>
                              </p:par>
                            </p:childTnLst>
                          </p:cTn>
                        </p:par>
                        <p:par>
                          <p:cTn id="45" fill="hold">
                            <p:stCondLst>
                              <p:cond delay="2550"/>
                            </p:stCondLst>
                            <p:childTnLst>
                              <p:par>
                                <p:cTn id="46" presetID="14" presetClass="entr" presetSubtype="10" fill="hold" grpId="0" nodeType="after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randombar(horizontal)">
                                      <p:cBhvr>
                                        <p:cTn id="48" dur="2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9" fill="hold" display="0">
                  <p:stCondLst>
                    <p:cond delay="indefinite"/>
                  </p:stCondLst>
                  <p:endCondLst>
                    <p:cond evt="onStopAudio" delay="0">
                      <p:tgtEl>
                        <p:sldTgt/>
                      </p:tgtEl>
                    </p:cond>
                  </p:endCondLst>
                </p:cTn>
                <p:tgtEl>
                  <p:spTgt spid="29"/>
                </p:tgtEl>
              </p:cMediaNode>
            </p:audio>
          </p:childTnLst>
        </p:cTn>
      </p:par>
    </p:tnLst>
    <p:bldLst>
      <p:bldP spid="2" grpId="0" animBg="1"/>
      <p:bldP spid="3" grpId="0" animBg="1"/>
      <p:bldP spid="13" grpId="0" animBg="1"/>
      <p:bldP spid="14" grpId="0" animBg="1"/>
      <p:bldP spid="21" grpId="0"/>
      <p:bldP spid="22" grpId="0"/>
      <p:bldP spid="23" grpId="0"/>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100000">
              <a:schemeClr val="tx1"/>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115" name="矩形 114"/>
          <p:cNvSpPr/>
          <p:nvPr/>
        </p:nvSpPr>
        <p:spPr>
          <a:xfrm>
            <a:off x="3710871" y="4891732"/>
            <a:ext cx="360040" cy="50405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endParaRPr>
          </a:p>
        </p:txBody>
      </p:sp>
      <p:sp>
        <p:nvSpPr>
          <p:cNvPr id="116" name="矩形 115"/>
          <p:cNvSpPr/>
          <p:nvPr/>
        </p:nvSpPr>
        <p:spPr>
          <a:xfrm>
            <a:off x="4805952" y="4657529"/>
            <a:ext cx="360040" cy="7200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p:cNvSpPr/>
          <p:nvPr/>
        </p:nvSpPr>
        <p:spPr>
          <a:xfrm>
            <a:off x="5917300" y="4297489"/>
            <a:ext cx="360040" cy="108012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p:cNvSpPr/>
          <p:nvPr/>
        </p:nvSpPr>
        <p:spPr>
          <a:xfrm>
            <a:off x="7036857" y="3793433"/>
            <a:ext cx="360040" cy="158417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矩形 118"/>
          <p:cNvSpPr/>
          <p:nvPr/>
        </p:nvSpPr>
        <p:spPr>
          <a:xfrm>
            <a:off x="8160356" y="2929337"/>
            <a:ext cx="360040" cy="244827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 name="椭圆形标注 67"/>
          <p:cNvSpPr/>
          <p:nvPr/>
        </p:nvSpPr>
        <p:spPr>
          <a:xfrm rot="1193015">
            <a:off x="8558787" y="1782703"/>
            <a:ext cx="1086901" cy="1086901"/>
          </a:xfrm>
          <a:prstGeom prst="wedgeEllipseCallou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1" name="直接连接符 120"/>
          <p:cNvCxnSpPr/>
          <p:nvPr/>
        </p:nvCxnSpPr>
        <p:spPr>
          <a:xfrm>
            <a:off x="3365792" y="5377609"/>
            <a:ext cx="5472608" cy="0"/>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22" name="组合 121"/>
          <p:cNvGrpSpPr/>
          <p:nvPr/>
        </p:nvGrpSpPr>
        <p:grpSpPr>
          <a:xfrm>
            <a:off x="3614191" y="5433881"/>
            <a:ext cx="5034033" cy="276999"/>
            <a:chOff x="2204491" y="4215124"/>
            <a:chExt cx="5034033" cy="276999"/>
          </a:xfrm>
        </p:grpSpPr>
        <p:sp>
          <p:nvSpPr>
            <p:cNvPr id="123" name="文本框 344"/>
            <p:cNvSpPr txBox="1"/>
            <p:nvPr/>
          </p:nvSpPr>
          <p:spPr>
            <a:xfrm>
              <a:off x="2204491" y="4215124"/>
              <a:ext cx="615697" cy="276999"/>
            </a:xfrm>
            <a:prstGeom prst="rect">
              <a:avLst/>
            </a:prstGeom>
            <a:noFill/>
            <a:ln>
              <a:noFill/>
            </a:ln>
          </p:spPr>
          <p:txBody>
            <a:bodyPr wrap="square" rtlCol="0">
              <a:spAutoFit/>
            </a:bodyPr>
            <a:lstStyle/>
            <a:p>
              <a:pPr>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2012</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24" name="文本框 344"/>
            <p:cNvSpPr txBox="1"/>
            <p:nvPr/>
          </p:nvSpPr>
          <p:spPr>
            <a:xfrm>
              <a:off x="3331729" y="4215124"/>
              <a:ext cx="615697" cy="276999"/>
            </a:xfrm>
            <a:prstGeom prst="rect">
              <a:avLst/>
            </a:prstGeom>
            <a:noFill/>
            <a:ln>
              <a:noFill/>
            </a:ln>
          </p:spPr>
          <p:txBody>
            <a:bodyPr wrap="square" rtlCol="0">
              <a:spAutoFit/>
            </a:bodyPr>
            <a:lstStyle/>
            <a:p>
              <a:pPr>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2013</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25" name="文本框 344"/>
            <p:cNvSpPr txBox="1"/>
            <p:nvPr/>
          </p:nvSpPr>
          <p:spPr>
            <a:xfrm>
              <a:off x="4431899" y="4215124"/>
              <a:ext cx="615697" cy="276999"/>
            </a:xfrm>
            <a:prstGeom prst="rect">
              <a:avLst/>
            </a:prstGeom>
            <a:noFill/>
            <a:ln>
              <a:noFill/>
            </a:ln>
          </p:spPr>
          <p:txBody>
            <a:bodyPr wrap="square" rtlCol="0">
              <a:spAutoFit/>
            </a:bodyPr>
            <a:lstStyle/>
            <a:p>
              <a:pPr>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2014</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26" name="文本框 344"/>
            <p:cNvSpPr txBox="1"/>
            <p:nvPr/>
          </p:nvSpPr>
          <p:spPr>
            <a:xfrm>
              <a:off x="5532069" y="4215124"/>
              <a:ext cx="615697" cy="276999"/>
            </a:xfrm>
            <a:prstGeom prst="rect">
              <a:avLst/>
            </a:prstGeom>
            <a:noFill/>
            <a:ln>
              <a:noFill/>
            </a:ln>
          </p:spPr>
          <p:txBody>
            <a:bodyPr wrap="square" rtlCol="0">
              <a:spAutoFit/>
            </a:bodyPr>
            <a:lstStyle/>
            <a:p>
              <a:pPr>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2015</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27" name="文本框 344"/>
            <p:cNvSpPr txBox="1"/>
            <p:nvPr/>
          </p:nvSpPr>
          <p:spPr>
            <a:xfrm>
              <a:off x="6622827" y="4215124"/>
              <a:ext cx="615697" cy="276999"/>
            </a:xfrm>
            <a:prstGeom prst="rect">
              <a:avLst/>
            </a:prstGeom>
            <a:noFill/>
            <a:ln>
              <a:noFill/>
            </a:ln>
          </p:spPr>
          <p:txBody>
            <a:bodyPr wrap="square" rtlCol="0">
              <a:spAutoFit/>
            </a:bodyPr>
            <a:lstStyle/>
            <a:p>
              <a:pPr>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2016</a:t>
              </a:r>
              <a:endParaRPr lang="zh-CN" altLang="en-US" sz="1200" dirty="0">
                <a:solidFill>
                  <a:schemeClr val="bg1"/>
                </a:solidFill>
                <a:latin typeface="华文新魏" panose="02010800040101010101" pitchFamily="2" charset="-122"/>
                <a:ea typeface="华文新魏" panose="02010800040101010101" pitchFamily="2" charset="-122"/>
              </a:endParaRPr>
            </a:p>
          </p:txBody>
        </p:sp>
      </p:grpSp>
      <p:grpSp>
        <p:nvGrpSpPr>
          <p:cNvPr id="128" name="组合 127"/>
          <p:cNvGrpSpPr/>
          <p:nvPr/>
        </p:nvGrpSpPr>
        <p:grpSpPr>
          <a:xfrm>
            <a:off x="2894111" y="2419598"/>
            <a:ext cx="759713" cy="3096510"/>
            <a:chOff x="1484411" y="1200841"/>
            <a:chExt cx="759713" cy="3096510"/>
          </a:xfrm>
        </p:grpSpPr>
        <p:sp>
          <p:nvSpPr>
            <p:cNvPr id="129" name="文本框 344"/>
            <p:cNvSpPr txBox="1"/>
            <p:nvPr/>
          </p:nvSpPr>
          <p:spPr>
            <a:xfrm>
              <a:off x="1628427" y="4020352"/>
              <a:ext cx="615697" cy="276999"/>
            </a:xfrm>
            <a:prstGeom prst="rect">
              <a:avLst/>
            </a:prstGeom>
            <a:noFill/>
          </p:spPr>
          <p:txBody>
            <a:bodyPr wrap="square" rtlCol="0">
              <a:spAutoFit/>
            </a:bodyPr>
            <a:lstStyle/>
            <a:p>
              <a:pPr algn="just">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0</a:t>
              </a:r>
              <a:endParaRPr lang="zh-CN" altLang="en-US" sz="1200" dirty="0">
                <a:solidFill>
                  <a:schemeClr val="bg1"/>
                </a:solidFill>
                <a:latin typeface="华文新魏" panose="02010800040101010101" pitchFamily="2" charset="-122"/>
                <a:ea typeface="华文新魏" panose="02010800040101010101" pitchFamily="2" charset="-122"/>
              </a:endParaRPr>
            </a:p>
          </p:txBody>
        </p:sp>
        <p:grpSp>
          <p:nvGrpSpPr>
            <p:cNvPr id="130" name="组合 129"/>
            <p:cNvGrpSpPr/>
            <p:nvPr/>
          </p:nvGrpSpPr>
          <p:grpSpPr>
            <a:xfrm>
              <a:off x="1484411" y="1200841"/>
              <a:ext cx="615697" cy="2622921"/>
              <a:chOff x="1484411" y="1200841"/>
              <a:chExt cx="615697" cy="2622921"/>
            </a:xfrm>
          </p:grpSpPr>
          <p:sp>
            <p:nvSpPr>
              <p:cNvPr id="131" name="文本框 344"/>
              <p:cNvSpPr txBox="1"/>
              <p:nvPr/>
            </p:nvSpPr>
            <p:spPr>
              <a:xfrm>
                <a:off x="1484411" y="3546763"/>
                <a:ext cx="615697" cy="276999"/>
              </a:xfrm>
              <a:prstGeom prst="rect">
                <a:avLst/>
              </a:prstGeom>
              <a:noFill/>
            </p:spPr>
            <p:txBody>
              <a:bodyPr wrap="square" rtlCol="0">
                <a:spAutoFit/>
              </a:bodyPr>
              <a:lstStyle/>
              <a:p>
                <a:pPr algn="just">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100</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32" name="文本框 344"/>
              <p:cNvSpPr txBox="1"/>
              <p:nvPr/>
            </p:nvSpPr>
            <p:spPr>
              <a:xfrm>
                <a:off x="1484411" y="3089765"/>
                <a:ext cx="615697" cy="276999"/>
              </a:xfrm>
              <a:prstGeom prst="rect">
                <a:avLst/>
              </a:prstGeom>
              <a:noFill/>
            </p:spPr>
            <p:txBody>
              <a:bodyPr wrap="square" rtlCol="0">
                <a:spAutoFit/>
              </a:bodyPr>
              <a:lstStyle/>
              <a:p>
                <a:pPr algn="just">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200</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33" name="文本框 344"/>
              <p:cNvSpPr txBox="1"/>
              <p:nvPr/>
            </p:nvSpPr>
            <p:spPr>
              <a:xfrm>
                <a:off x="1484411" y="2605017"/>
                <a:ext cx="615697" cy="276999"/>
              </a:xfrm>
              <a:prstGeom prst="rect">
                <a:avLst/>
              </a:prstGeom>
              <a:noFill/>
            </p:spPr>
            <p:txBody>
              <a:bodyPr wrap="square" rtlCol="0">
                <a:spAutoFit/>
              </a:bodyPr>
              <a:lstStyle/>
              <a:p>
                <a:pPr algn="just">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300</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34" name="文本框 344"/>
              <p:cNvSpPr txBox="1"/>
              <p:nvPr/>
            </p:nvSpPr>
            <p:spPr>
              <a:xfrm>
                <a:off x="1484411" y="2131428"/>
                <a:ext cx="615697" cy="276999"/>
              </a:xfrm>
              <a:prstGeom prst="rect">
                <a:avLst/>
              </a:prstGeom>
              <a:noFill/>
            </p:spPr>
            <p:txBody>
              <a:bodyPr wrap="square" rtlCol="0">
                <a:spAutoFit/>
              </a:bodyPr>
              <a:lstStyle/>
              <a:p>
                <a:pPr algn="just">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400</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35" name="文本框 344"/>
              <p:cNvSpPr txBox="1"/>
              <p:nvPr/>
            </p:nvSpPr>
            <p:spPr>
              <a:xfrm>
                <a:off x="1484411" y="1674430"/>
                <a:ext cx="615697" cy="276999"/>
              </a:xfrm>
              <a:prstGeom prst="rect">
                <a:avLst/>
              </a:prstGeom>
              <a:noFill/>
            </p:spPr>
            <p:txBody>
              <a:bodyPr wrap="square" rtlCol="0">
                <a:spAutoFit/>
              </a:bodyPr>
              <a:lstStyle/>
              <a:p>
                <a:pPr algn="just">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500</a:t>
                </a:r>
                <a:endParaRPr lang="zh-CN" altLang="en-US" sz="1200" dirty="0">
                  <a:solidFill>
                    <a:schemeClr val="bg1"/>
                  </a:solidFill>
                  <a:latin typeface="华文新魏" panose="02010800040101010101" pitchFamily="2" charset="-122"/>
                  <a:ea typeface="华文新魏" panose="02010800040101010101" pitchFamily="2" charset="-122"/>
                </a:endParaRPr>
              </a:p>
            </p:txBody>
          </p:sp>
          <p:sp>
            <p:nvSpPr>
              <p:cNvPr id="136" name="文本框 344"/>
              <p:cNvSpPr txBox="1"/>
              <p:nvPr/>
            </p:nvSpPr>
            <p:spPr>
              <a:xfrm>
                <a:off x="1484411" y="1200841"/>
                <a:ext cx="615697" cy="276999"/>
              </a:xfrm>
              <a:prstGeom prst="rect">
                <a:avLst/>
              </a:prstGeom>
              <a:noFill/>
            </p:spPr>
            <p:txBody>
              <a:bodyPr wrap="square" rtlCol="0">
                <a:spAutoFit/>
              </a:bodyPr>
              <a:lstStyle/>
              <a:p>
                <a:pPr algn="just">
                  <a:spcBef>
                    <a:spcPts val="450"/>
                  </a:spcBef>
                </a:pPr>
                <a:r>
                  <a:rPr lang="en-US" altLang="zh-CN" sz="1200" dirty="0">
                    <a:solidFill>
                      <a:schemeClr val="bg1"/>
                    </a:solidFill>
                    <a:latin typeface="华文新魏" panose="02010800040101010101" pitchFamily="2" charset="-122"/>
                    <a:ea typeface="华文新魏" panose="02010800040101010101" pitchFamily="2" charset="-122"/>
                  </a:rPr>
                  <a:t>600</a:t>
                </a:r>
                <a:endParaRPr lang="zh-CN" altLang="en-US" sz="1200" dirty="0">
                  <a:solidFill>
                    <a:schemeClr val="bg1"/>
                  </a:solidFill>
                  <a:latin typeface="华文新魏" panose="02010800040101010101" pitchFamily="2" charset="-122"/>
                  <a:ea typeface="华文新魏" panose="02010800040101010101" pitchFamily="2" charset="-122"/>
                </a:endParaRPr>
              </a:p>
            </p:txBody>
          </p:sp>
        </p:grpSp>
      </p:grpSp>
      <p:sp>
        <p:nvSpPr>
          <p:cNvPr id="138" name="文本框 344"/>
          <p:cNvSpPr txBox="1"/>
          <p:nvPr/>
        </p:nvSpPr>
        <p:spPr>
          <a:xfrm>
            <a:off x="8823101" y="2013848"/>
            <a:ext cx="720080" cy="584775"/>
          </a:xfrm>
          <a:prstGeom prst="rect">
            <a:avLst/>
          </a:prstGeom>
          <a:noFill/>
        </p:spPr>
        <p:txBody>
          <a:bodyPr wrap="square" rtlCol="0">
            <a:spAutoFit/>
          </a:bodyPr>
          <a:lstStyle/>
          <a:p>
            <a:pPr>
              <a:spcBef>
                <a:spcPts val="450"/>
              </a:spcBef>
            </a:pPr>
            <a:r>
              <a:rPr lang="zh-CN" altLang="en-US" sz="1600" dirty="0">
                <a:solidFill>
                  <a:schemeClr val="bg1"/>
                </a:solidFill>
                <a:latin typeface="幼圆" panose="02010509060101010101" pitchFamily="49" charset="-122"/>
                <a:ea typeface="幼圆" panose="02010509060101010101" pitchFamily="49" charset="-122"/>
              </a:rPr>
              <a:t>历史新高</a:t>
            </a:r>
          </a:p>
        </p:txBody>
      </p:sp>
      <p:sp>
        <p:nvSpPr>
          <p:cNvPr id="139" name="矩形 1"/>
          <p:cNvSpPr>
            <a:spLocks noChangeArrowheads="1"/>
          </p:cNvSpPr>
          <p:nvPr/>
        </p:nvSpPr>
        <p:spPr bwMode="auto">
          <a:xfrm>
            <a:off x="3890891" y="2105000"/>
            <a:ext cx="3398909" cy="102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pPr>
            <a:r>
              <a:rPr lang="zh-CN" altLang="en-US" sz="1600" dirty="0">
                <a:solidFill>
                  <a:schemeClr val="bg1"/>
                </a:solidFill>
                <a:latin typeface="等线 Light" panose="02010600030101010101" pitchFamily="2" charset="-122"/>
                <a:ea typeface="等线 Light" panose="02010600030101010101" pitchFamily="2" charset="-122"/>
                <a:sym typeface="方正兰亭黑_GBK" panose="02000000000000000000" pitchFamily="2" charset="-122"/>
              </a:rPr>
              <a:t>在此录入上述图表的综合描述说明，在此录入上述图表的综合描述说明，在</a:t>
            </a:r>
            <a:endParaRPr lang="zh-CN" altLang="en-US" sz="1600" dirty="0">
              <a:solidFill>
                <a:schemeClr val="bg1"/>
              </a:solidFill>
              <a:latin typeface="等线 Light" panose="02010600030101010101" pitchFamily="2" charset="-122"/>
              <a:ea typeface="等线 Light" panose="02010600030101010101" pitchFamily="2" charset="-122"/>
            </a:endParaRPr>
          </a:p>
        </p:txBody>
      </p:sp>
      <p:sp>
        <p:nvSpPr>
          <p:cNvPr id="30"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31"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2594151154"/>
      </p:ext>
    </p:extLst>
  </p:cSld>
  <p:clrMapOvr>
    <a:masterClrMapping/>
  </p:clrMapOvr>
  <mc:AlternateContent xmlns:mc="http://schemas.openxmlformats.org/markup-compatibility/2006" xmlns:p14="http://schemas.microsoft.com/office/powerpoint/2010/main">
    <mc:Choice Requires="p14">
      <p:transition spd="slow" p14:dur="1200" advTm="6456">
        <p:dissolve/>
      </p:transition>
    </mc:Choice>
    <mc:Fallback xmlns="">
      <p:transition spd="slow" advTm="6456">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21"/>
                                        </p:tgtEl>
                                        <p:attrNameLst>
                                          <p:attrName>style.visibility</p:attrName>
                                        </p:attrNameLst>
                                      </p:cBhvr>
                                      <p:to>
                                        <p:strVal val="visible"/>
                                      </p:to>
                                    </p:set>
                                    <p:animEffect transition="in" filter="wipe(left)">
                                      <p:cBhvr>
                                        <p:cTn id="11" dur="500"/>
                                        <p:tgtEl>
                                          <p:spTgt spid="121"/>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22"/>
                                        </p:tgtEl>
                                        <p:attrNameLst>
                                          <p:attrName>style.visibility</p:attrName>
                                        </p:attrNameLst>
                                      </p:cBhvr>
                                      <p:to>
                                        <p:strVal val="visible"/>
                                      </p:to>
                                    </p:set>
                                    <p:animEffect transition="in" filter="wipe(left)">
                                      <p:cBhvr>
                                        <p:cTn id="16" dur="500"/>
                                        <p:tgtEl>
                                          <p:spTgt spid="122"/>
                                        </p:tgtEl>
                                      </p:cBhvr>
                                    </p:animEffect>
                                  </p:childTnLst>
                                </p:cTn>
                              </p:par>
                              <p:par>
                                <p:cTn id="17" presetID="22" presetClass="entr" presetSubtype="4" fill="hold" nodeType="withEffect">
                                  <p:stCondLst>
                                    <p:cond delay="0"/>
                                  </p:stCondLst>
                                  <p:childTnLst>
                                    <p:set>
                                      <p:cBhvr>
                                        <p:cTn id="18" dur="1" fill="hold">
                                          <p:stCondLst>
                                            <p:cond delay="0"/>
                                          </p:stCondLst>
                                        </p:cTn>
                                        <p:tgtEl>
                                          <p:spTgt spid="128"/>
                                        </p:tgtEl>
                                        <p:attrNameLst>
                                          <p:attrName>style.visibility</p:attrName>
                                        </p:attrNameLst>
                                      </p:cBhvr>
                                      <p:to>
                                        <p:strVal val="visible"/>
                                      </p:to>
                                    </p:set>
                                    <p:animEffect transition="in" filter="wipe(down)">
                                      <p:cBhvr>
                                        <p:cTn id="19" dur="500"/>
                                        <p:tgtEl>
                                          <p:spTgt spid="12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15"/>
                                        </p:tgtEl>
                                        <p:attrNameLst>
                                          <p:attrName>style.visibility</p:attrName>
                                        </p:attrNameLst>
                                      </p:cBhvr>
                                      <p:to>
                                        <p:strVal val="visible"/>
                                      </p:to>
                                    </p:set>
                                    <p:animEffect transition="in" filter="wipe(down)">
                                      <p:cBhvr>
                                        <p:cTn id="24" dur="500"/>
                                        <p:tgtEl>
                                          <p:spTgt spid="115"/>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16"/>
                                        </p:tgtEl>
                                        <p:attrNameLst>
                                          <p:attrName>style.visibility</p:attrName>
                                        </p:attrNameLst>
                                      </p:cBhvr>
                                      <p:to>
                                        <p:strVal val="visible"/>
                                      </p:to>
                                    </p:set>
                                    <p:animEffect transition="in" filter="wipe(down)">
                                      <p:cBhvr>
                                        <p:cTn id="29" dur="500"/>
                                        <p:tgtEl>
                                          <p:spTgt spid="1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wipe(down)">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18"/>
                                        </p:tgtEl>
                                        <p:attrNameLst>
                                          <p:attrName>style.visibility</p:attrName>
                                        </p:attrNameLst>
                                      </p:cBhvr>
                                      <p:to>
                                        <p:strVal val="visible"/>
                                      </p:to>
                                    </p:set>
                                    <p:animEffect transition="in" filter="wipe(down)">
                                      <p:cBhvr>
                                        <p:cTn id="39" dur="500"/>
                                        <p:tgtEl>
                                          <p:spTgt spid="118"/>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119"/>
                                        </p:tgtEl>
                                        <p:attrNameLst>
                                          <p:attrName>style.visibility</p:attrName>
                                        </p:attrNameLst>
                                      </p:cBhvr>
                                      <p:to>
                                        <p:strVal val="visible"/>
                                      </p:to>
                                    </p:set>
                                    <p:animEffect transition="in" filter="wipe(down)">
                                      <p:cBhvr>
                                        <p:cTn id="44" dur="500"/>
                                        <p:tgtEl>
                                          <p:spTgt spid="119"/>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20"/>
                                        </p:tgtEl>
                                        <p:attrNameLst>
                                          <p:attrName>style.visibility</p:attrName>
                                        </p:attrNameLst>
                                      </p:cBhvr>
                                      <p:to>
                                        <p:strVal val="visible"/>
                                      </p:to>
                                    </p:set>
                                    <p:animEffect transition="in" filter="fade">
                                      <p:cBhvr>
                                        <p:cTn id="49" dur="500"/>
                                        <p:tgtEl>
                                          <p:spTgt spid="120"/>
                                        </p:tgtEl>
                                      </p:cBhvr>
                                    </p:animEffect>
                                    <p:anim calcmode="lin" valueType="num">
                                      <p:cBhvr>
                                        <p:cTn id="50" dur="500" fill="hold"/>
                                        <p:tgtEl>
                                          <p:spTgt spid="120"/>
                                        </p:tgtEl>
                                        <p:attrNameLst>
                                          <p:attrName>ppt_x</p:attrName>
                                        </p:attrNameLst>
                                      </p:cBhvr>
                                      <p:tavLst>
                                        <p:tav tm="0">
                                          <p:val>
                                            <p:strVal val="#ppt_x"/>
                                          </p:val>
                                        </p:tav>
                                        <p:tav tm="100000">
                                          <p:val>
                                            <p:strVal val="#ppt_x"/>
                                          </p:val>
                                        </p:tav>
                                      </p:tavLst>
                                    </p:anim>
                                    <p:anim calcmode="lin" valueType="num">
                                      <p:cBhvr>
                                        <p:cTn id="51" dur="500" fill="hold"/>
                                        <p:tgtEl>
                                          <p:spTgt spid="120"/>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anim calcmode="lin" valueType="num">
                                      <p:cBhvr>
                                        <p:cTn id="55" dur="500" fill="hold"/>
                                        <p:tgtEl>
                                          <p:spTgt spid="138"/>
                                        </p:tgtEl>
                                        <p:attrNameLst>
                                          <p:attrName>ppt_x</p:attrName>
                                        </p:attrNameLst>
                                      </p:cBhvr>
                                      <p:tavLst>
                                        <p:tav tm="0">
                                          <p:val>
                                            <p:strVal val="#ppt_x"/>
                                          </p:val>
                                        </p:tav>
                                        <p:tav tm="100000">
                                          <p:val>
                                            <p:strVal val="#ppt_x"/>
                                          </p:val>
                                        </p:tav>
                                      </p:tavLst>
                                    </p:anim>
                                    <p:anim calcmode="lin" valueType="num">
                                      <p:cBhvr>
                                        <p:cTn id="56" dur="500" fill="hold"/>
                                        <p:tgtEl>
                                          <p:spTgt spid="138"/>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139"/>
                                        </p:tgtEl>
                                        <p:attrNameLst>
                                          <p:attrName>style.visibility</p:attrName>
                                        </p:attrNameLst>
                                      </p:cBhvr>
                                      <p:to>
                                        <p:strVal val="visible"/>
                                      </p:to>
                                    </p:set>
                                    <p:anim calcmode="lin" valueType="num">
                                      <p:cBhvr additive="base">
                                        <p:cTn id="61" dur="500" fill="hold"/>
                                        <p:tgtEl>
                                          <p:spTgt spid="139"/>
                                        </p:tgtEl>
                                        <p:attrNameLst>
                                          <p:attrName>ppt_x</p:attrName>
                                        </p:attrNameLst>
                                      </p:cBhvr>
                                      <p:tavLst>
                                        <p:tav tm="0">
                                          <p:val>
                                            <p:strVal val="#ppt_x"/>
                                          </p:val>
                                        </p:tav>
                                        <p:tav tm="100000">
                                          <p:val>
                                            <p:strVal val="#ppt_x"/>
                                          </p:val>
                                        </p:tav>
                                      </p:tavLst>
                                    </p:anim>
                                    <p:anim calcmode="lin" valueType="num">
                                      <p:cBhvr additive="base">
                                        <p:cTn id="62" dur="500" fill="hold"/>
                                        <p:tgtEl>
                                          <p:spTgt spid="1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63" fill="hold" display="0">
                  <p:stCondLst>
                    <p:cond delay="indefinite"/>
                  </p:stCondLst>
                  <p:endCondLst>
                    <p:cond evt="onStopAudio" delay="0">
                      <p:tgtEl>
                        <p:sldTgt/>
                      </p:tgtEl>
                    </p:cond>
                  </p:endCondLst>
                </p:cTn>
                <p:tgtEl>
                  <p:spTgt spid="3"/>
                </p:tgtEl>
              </p:cMediaNode>
            </p:audio>
          </p:childTnLst>
        </p:cTn>
      </p:par>
    </p:tnLst>
    <p:bldLst>
      <p:bldP spid="115" grpId="0" animBg="1"/>
      <p:bldP spid="116" grpId="0" animBg="1"/>
      <p:bldP spid="117" grpId="0" animBg="1"/>
      <p:bldP spid="118" grpId="0" animBg="1"/>
      <p:bldP spid="119" grpId="0" animBg="1"/>
      <p:bldP spid="120" grpId="0" animBg="1"/>
      <p:bldP spid="138" grpId="0"/>
      <p:bldP spid="139"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6"/>
          <p:cNvSpPr>
            <a:spLocks noChangeArrowheads="1"/>
          </p:cNvSpPr>
          <p:nvPr/>
        </p:nvSpPr>
        <p:spPr bwMode="auto">
          <a:xfrm>
            <a:off x="7392156" y="3046091"/>
            <a:ext cx="1805870" cy="1804283"/>
          </a:xfrm>
          <a:prstGeom prst="ellipse">
            <a:avLst/>
          </a:pr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799"/>
          </a:p>
        </p:txBody>
      </p:sp>
      <p:sp>
        <p:nvSpPr>
          <p:cNvPr id="3" name="Freeform 7"/>
          <p:cNvSpPr>
            <a:spLocks/>
          </p:cNvSpPr>
          <p:nvPr/>
        </p:nvSpPr>
        <p:spPr bwMode="auto">
          <a:xfrm>
            <a:off x="3420195" y="1871800"/>
            <a:ext cx="1291720" cy="4078282"/>
          </a:xfrm>
          <a:custGeom>
            <a:avLst/>
            <a:gdLst>
              <a:gd name="T0" fmla="*/ 1750 w 1750"/>
              <a:gd name="T1" fmla="*/ 272 h 5527"/>
              <a:gd name="T2" fmla="*/ 314 w 1750"/>
              <a:gd name="T3" fmla="*/ 2778 h 5527"/>
              <a:gd name="T4" fmla="*/ 1699 w 1750"/>
              <a:gd name="T5" fmla="*/ 5254 h 5527"/>
              <a:gd name="T6" fmla="*/ 1542 w 1750"/>
              <a:gd name="T7" fmla="*/ 5527 h 5527"/>
              <a:gd name="T8" fmla="*/ 0 w 1750"/>
              <a:gd name="T9" fmla="*/ 2778 h 5527"/>
              <a:gd name="T10" fmla="*/ 1593 w 1750"/>
              <a:gd name="T11" fmla="*/ 0 h 5527"/>
              <a:gd name="T12" fmla="*/ 1750 w 1750"/>
              <a:gd name="T13" fmla="*/ 272 h 5527"/>
            </a:gdLst>
            <a:ahLst/>
            <a:cxnLst>
              <a:cxn ang="0">
                <a:pos x="T0" y="T1"/>
              </a:cxn>
              <a:cxn ang="0">
                <a:pos x="T2" y="T3"/>
              </a:cxn>
              <a:cxn ang="0">
                <a:pos x="T4" y="T5"/>
              </a:cxn>
              <a:cxn ang="0">
                <a:pos x="T6" y="T7"/>
              </a:cxn>
              <a:cxn ang="0">
                <a:pos x="T8" y="T9"/>
              </a:cxn>
              <a:cxn ang="0">
                <a:pos x="T10" y="T11"/>
              </a:cxn>
              <a:cxn ang="0">
                <a:pos x="T12" y="T13"/>
              </a:cxn>
            </a:cxnLst>
            <a:rect l="0" t="0" r="r" b="b"/>
            <a:pathLst>
              <a:path w="1750" h="5527">
                <a:moveTo>
                  <a:pt x="1750" y="272"/>
                </a:moveTo>
                <a:cubicBezTo>
                  <a:pt x="891" y="777"/>
                  <a:pt x="314" y="1710"/>
                  <a:pt x="314" y="2778"/>
                </a:cubicBezTo>
                <a:cubicBezTo>
                  <a:pt x="314" y="3825"/>
                  <a:pt x="868" y="4743"/>
                  <a:pt x="1699" y="5254"/>
                </a:cubicBezTo>
                <a:lnTo>
                  <a:pt x="1542" y="5527"/>
                </a:lnTo>
                <a:cubicBezTo>
                  <a:pt x="617" y="4961"/>
                  <a:pt x="0" y="3942"/>
                  <a:pt x="0" y="2778"/>
                </a:cubicBezTo>
                <a:cubicBezTo>
                  <a:pt x="0" y="1594"/>
                  <a:pt x="640" y="559"/>
                  <a:pt x="1593" y="0"/>
                </a:cubicBezTo>
                <a:lnTo>
                  <a:pt x="1750" y="272"/>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sz="1799"/>
          </a:p>
        </p:txBody>
      </p:sp>
      <p:sp>
        <p:nvSpPr>
          <p:cNvPr id="4" name="Oval 8"/>
          <p:cNvSpPr>
            <a:spLocks noChangeArrowheads="1"/>
          </p:cNvSpPr>
          <p:nvPr/>
        </p:nvSpPr>
        <p:spPr bwMode="auto">
          <a:xfrm>
            <a:off x="3820088" y="1433821"/>
            <a:ext cx="1218724" cy="1220311"/>
          </a:xfrm>
          <a:prstGeom prst="ellipse">
            <a:avLst/>
          </a:prstGeom>
          <a:solidFill>
            <a:schemeClr val="accent1">
              <a:lumMod val="50000"/>
            </a:schemeClr>
          </a:solidFill>
          <a:ln>
            <a:noFill/>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799"/>
          </a:p>
        </p:txBody>
      </p:sp>
      <p:sp>
        <p:nvSpPr>
          <p:cNvPr id="5" name="Oval 9"/>
          <p:cNvSpPr>
            <a:spLocks noChangeArrowheads="1"/>
          </p:cNvSpPr>
          <p:nvPr/>
        </p:nvSpPr>
        <p:spPr bwMode="auto">
          <a:xfrm>
            <a:off x="2944130" y="3292058"/>
            <a:ext cx="1220311" cy="1218724"/>
          </a:xfrm>
          <a:prstGeom prst="ellipse">
            <a:avLst/>
          </a:prstGeom>
          <a:solidFill>
            <a:schemeClr val="accent1">
              <a:lumMod val="75000"/>
            </a:schemeClr>
          </a:solidFill>
          <a:ln>
            <a:noFill/>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799"/>
          </a:p>
        </p:txBody>
      </p:sp>
      <p:sp>
        <p:nvSpPr>
          <p:cNvPr id="6" name="Oval 10"/>
          <p:cNvSpPr>
            <a:spLocks noChangeArrowheads="1"/>
          </p:cNvSpPr>
          <p:nvPr/>
        </p:nvSpPr>
        <p:spPr bwMode="auto">
          <a:xfrm>
            <a:off x="3943865" y="5093166"/>
            <a:ext cx="1220311" cy="1218724"/>
          </a:xfrm>
          <a:prstGeom prst="ellipse">
            <a:avLst/>
          </a:prstGeom>
          <a:solidFill>
            <a:schemeClr val="accent1">
              <a:lumMod val="50000"/>
            </a:schemeClr>
          </a:solidFill>
          <a:ln>
            <a:noFill/>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799"/>
          </a:p>
        </p:txBody>
      </p:sp>
      <p:sp>
        <p:nvSpPr>
          <p:cNvPr id="7" name="Line 11"/>
          <p:cNvSpPr>
            <a:spLocks noChangeShapeType="1"/>
          </p:cNvSpPr>
          <p:nvPr/>
        </p:nvSpPr>
        <p:spPr bwMode="auto">
          <a:xfrm>
            <a:off x="5287952" y="2227261"/>
            <a:ext cx="2094682" cy="1206029"/>
          </a:xfrm>
          <a:prstGeom prst="line">
            <a:avLst/>
          </a:prstGeom>
          <a:noFill/>
          <a:ln w="12700" cmpd="sng">
            <a:solidFill>
              <a:schemeClr val="accent1">
                <a:lumMod val="50000"/>
              </a:schemeClr>
            </a:solidFill>
            <a:round/>
            <a:headEnd/>
            <a:tailEnd type="triangle" w="lg" len="lg"/>
          </a:ln>
          <a:extLst>
            <a:ext uri="{909E8E84-426E-40DD-AFC4-6F175D3DCCD1}">
              <a14:hiddenFill xmlns:a14="http://schemas.microsoft.com/office/drawing/2010/main">
                <a:noFill/>
              </a14:hiddenFill>
            </a:ext>
          </a:extLst>
        </p:spPr>
        <p:txBody>
          <a:bodyPr/>
          <a:lstStyle/>
          <a:p>
            <a:endParaRPr lang="zh-CN" altLang="en-US" sz="1799"/>
          </a:p>
        </p:txBody>
      </p:sp>
      <p:sp>
        <p:nvSpPr>
          <p:cNvPr id="8" name="Line 12"/>
          <p:cNvSpPr>
            <a:spLocks noChangeShapeType="1"/>
          </p:cNvSpPr>
          <p:nvPr/>
        </p:nvSpPr>
        <p:spPr bwMode="auto">
          <a:xfrm flipV="1">
            <a:off x="5287952" y="4312421"/>
            <a:ext cx="2094682" cy="1206029"/>
          </a:xfrm>
          <a:prstGeom prst="line">
            <a:avLst/>
          </a:prstGeom>
          <a:noFill/>
          <a:ln w="12700" cmpd="sng">
            <a:solidFill>
              <a:schemeClr val="accent1">
                <a:lumMod val="50000"/>
              </a:schemeClr>
            </a:solidFill>
            <a:round/>
            <a:headEnd/>
            <a:tailEnd type="triangle" w="lg" len="lg"/>
          </a:ln>
          <a:extLst>
            <a:ext uri="{909E8E84-426E-40DD-AFC4-6F175D3DCCD1}">
              <a14:hiddenFill xmlns:a14="http://schemas.microsoft.com/office/drawing/2010/main">
                <a:noFill/>
              </a14:hiddenFill>
            </a:ext>
          </a:extLst>
        </p:spPr>
        <p:txBody>
          <a:bodyPr/>
          <a:lstStyle/>
          <a:p>
            <a:endParaRPr lang="zh-CN" altLang="en-US" sz="1799"/>
          </a:p>
        </p:txBody>
      </p:sp>
      <p:sp>
        <p:nvSpPr>
          <p:cNvPr id="9" name="Line 13"/>
          <p:cNvSpPr>
            <a:spLocks noChangeShapeType="1"/>
          </p:cNvSpPr>
          <p:nvPr/>
        </p:nvSpPr>
        <p:spPr bwMode="auto">
          <a:xfrm>
            <a:off x="4442145" y="3883963"/>
            <a:ext cx="2783388" cy="0"/>
          </a:xfrm>
          <a:prstGeom prst="line">
            <a:avLst/>
          </a:prstGeom>
          <a:noFill/>
          <a:ln w="12700" cmpd="sng">
            <a:solidFill>
              <a:schemeClr val="accent1">
                <a:lumMod val="50000"/>
              </a:schemeClr>
            </a:solidFill>
            <a:round/>
            <a:headEnd/>
            <a:tailEnd type="triangle" w="lg" len="lg"/>
          </a:ln>
          <a:extLst>
            <a:ext uri="{909E8E84-426E-40DD-AFC4-6F175D3DCCD1}">
              <a14:hiddenFill xmlns:a14="http://schemas.microsoft.com/office/drawing/2010/main">
                <a:noFill/>
              </a14:hiddenFill>
            </a:ext>
          </a:extLst>
        </p:spPr>
        <p:txBody>
          <a:bodyPr/>
          <a:lstStyle/>
          <a:p>
            <a:endParaRPr lang="zh-CN" altLang="en-US" sz="1799"/>
          </a:p>
        </p:txBody>
      </p:sp>
      <p:sp>
        <p:nvSpPr>
          <p:cNvPr id="10" name="Oval 14"/>
          <p:cNvSpPr>
            <a:spLocks noChangeArrowheads="1"/>
          </p:cNvSpPr>
          <p:nvPr/>
        </p:nvSpPr>
        <p:spPr bwMode="auto">
          <a:xfrm>
            <a:off x="7482607" y="3134956"/>
            <a:ext cx="1624965" cy="1624965"/>
          </a:xfrm>
          <a:prstGeom prst="ellipse">
            <a:avLst/>
          </a:prstGeom>
          <a:solidFill>
            <a:schemeClr val="accent1">
              <a:lumMod val="50000"/>
            </a:schemeClr>
          </a:solidFill>
          <a:ln>
            <a:noFill/>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799"/>
          </a:p>
        </p:txBody>
      </p:sp>
      <p:sp>
        <p:nvSpPr>
          <p:cNvPr id="11" name="TextBox 12"/>
          <p:cNvSpPr txBox="1">
            <a:spLocks noChangeArrowheads="1"/>
          </p:cNvSpPr>
          <p:nvPr/>
        </p:nvSpPr>
        <p:spPr bwMode="auto">
          <a:xfrm>
            <a:off x="4042251" y="1690895"/>
            <a:ext cx="774398" cy="70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添加</a:t>
            </a:r>
            <a:endParaRPr lang="en-US" altLang="zh-CN" sz="1999" dirty="0">
              <a:solidFill>
                <a:schemeClr val="bg1"/>
              </a:solidFill>
              <a:latin typeface="等线 Light" panose="02010600030101010101" pitchFamily="2" charset="-122"/>
              <a:ea typeface="等线 Light" panose="02010600030101010101" pitchFamily="2" charset="-122"/>
            </a:endParaRPr>
          </a:p>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标题</a:t>
            </a:r>
            <a:endParaRPr lang="en-US" altLang="zh-CN" sz="1999" dirty="0">
              <a:solidFill>
                <a:schemeClr val="bg1"/>
              </a:solidFill>
              <a:latin typeface="等线 Light" panose="02010600030101010101" pitchFamily="2" charset="-122"/>
              <a:ea typeface="等线 Light" panose="02010600030101010101" pitchFamily="2" charset="-122"/>
            </a:endParaRPr>
          </a:p>
        </p:txBody>
      </p:sp>
      <p:sp>
        <p:nvSpPr>
          <p:cNvPr id="12" name="TextBox 13"/>
          <p:cNvSpPr txBox="1">
            <a:spLocks noChangeArrowheads="1"/>
          </p:cNvSpPr>
          <p:nvPr/>
        </p:nvSpPr>
        <p:spPr bwMode="auto">
          <a:xfrm>
            <a:off x="3140903" y="3558654"/>
            <a:ext cx="775985" cy="7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添加</a:t>
            </a:r>
            <a:endParaRPr lang="en-US" altLang="zh-CN" sz="1999" dirty="0">
              <a:solidFill>
                <a:schemeClr val="bg1"/>
              </a:solidFill>
              <a:latin typeface="等线 Light" panose="02010600030101010101" pitchFamily="2" charset="-122"/>
              <a:ea typeface="等线 Light" panose="02010600030101010101" pitchFamily="2" charset="-122"/>
            </a:endParaRPr>
          </a:p>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标题</a:t>
            </a:r>
            <a:endParaRPr lang="en-US" altLang="zh-CN" sz="1999" dirty="0">
              <a:solidFill>
                <a:schemeClr val="bg1"/>
              </a:solidFill>
              <a:latin typeface="等线 Light" panose="02010600030101010101" pitchFamily="2" charset="-122"/>
              <a:ea typeface="等线 Light" panose="02010600030101010101" pitchFamily="2" charset="-122"/>
            </a:endParaRPr>
          </a:p>
        </p:txBody>
      </p:sp>
      <p:sp>
        <p:nvSpPr>
          <p:cNvPr id="13" name="TextBox 14"/>
          <p:cNvSpPr txBox="1">
            <a:spLocks noChangeArrowheads="1"/>
          </p:cNvSpPr>
          <p:nvPr/>
        </p:nvSpPr>
        <p:spPr bwMode="auto">
          <a:xfrm>
            <a:off x="4178722" y="5359762"/>
            <a:ext cx="774398" cy="7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添加</a:t>
            </a:r>
            <a:endParaRPr lang="en-US" altLang="zh-CN" sz="1999" dirty="0">
              <a:solidFill>
                <a:schemeClr val="bg1"/>
              </a:solidFill>
              <a:latin typeface="等线 Light" panose="02010600030101010101" pitchFamily="2" charset="-122"/>
              <a:ea typeface="等线 Light" panose="02010600030101010101" pitchFamily="2" charset="-122"/>
            </a:endParaRPr>
          </a:p>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标题</a:t>
            </a:r>
            <a:endParaRPr lang="en-US" altLang="zh-CN" sz="1999" dirty="0">
              <a:solidFill>
                <a:schemeClr val="bg1"/>
              </a:solidFill>
              <a:latin typeface="等线 Light" panose="02010600030101010101" pitchFamily="2" charset="-122"/>
              <a:ea typeface="等线 Light" panose="02010600030101010101" pitchFamily="2" charset="-122"/>
            </a:endParaRPr>
          </a:p>
        </p:txBody>
      </p:sp>
      <p:sp>
        <p:nvSpPr>
          <p:cNvPr id="14" name="TextBox 15"/>
          <p:cNvSpPr txBox="1">
            <a:spLocks noChangeArrowheads="1"/>
          </p:cNvSpPr>
          <p:nvPr/>
        </p:nvSpPr>
        <p:spPr bwMode="auto">
          <a:xfrm>
            <a:off x="7888848" y="3599913"/>
            <a:ext cx="775985" cy="7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添加</a:t>
            </a:r>
            <a:endParaRPr lang="en-US" altLang="zh-CN" sz="1999" dirty="0">
              <a:solidFill>
                <a:schemeClr val="bg1"/>
              </a:solidFill>
              <a:latin typeface="等线 Light" panose="02010600030101010101" pitchFamily="2" charset="-122"/>
              <a:ea typeface="等线 Light" panose="02010600030101010101" pitchFamily="2" charset="-122"/>
            </a:endParaRPr>
          </a:p>
          <a:p>
            <a:pPr algn="ctr" eaLnBrk="1" hangingPunct="1"/>
            <a:r>
              <a:rPr lang="zh-CN" altLang="en-US" sz="1999" dirty="0">
                <a:solidFill>
                  <a:schemeClr val="bg1"/>
                </a:solidFill>
                <a:latin typeface="等线 Light" panose="02010600030101010101" pitchFamily="2" charset="-122"/>
                <a:ea typeface="等线 Light" panose="02010600030101010101" pitchFamily="2" charset="-122"/>
              </a:rPr>
              <a:t>标题</a:t>
            </a:r>
            <a:endParaRPr lang="en-US" altLang="zh-CN" sz="1999" dirty="0">
              <a:solidFill>
                <a:schemeClr val="bg1"/>
              </a:solidFill>
              <a:latin typeface="等线 Light" panose="02010600030101010101" pitchFamily="2" charset="-122"/>
              <a:ea typeface="等线 Light" panose="02010600030101010101" pitchFamily="2" charset="-122"/>
            </a:endParaRPr>
          </a:p>
        </p:txBody>
      </p:sp>
      <p:sp>
        <p:nvSpPr>
          <p:cNvPr id="15" name="TextBox 16"/>
          <p:cNvSpPr txBox="1">
            <a:spLocks noChangeArrowheads="1"/>
          </p:cNvSpPr>
          <p:nvPr/>
        </p:nvSpPr>
        <p:spPr bwMode="auto">
          <a:xfrm>
            <a:off x="1000203" y="1598062"/>
            <a:ext cx="2788148" cy="369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eaLnBrk="1" hangingPunct="1"/>
            <a:r>
              <a:rPr lang="zh-CN" altLang="en-US" sz="1799" dirty="0">
                <a:solidFill>
                  <a:schemeClr val="bg1"/>
                </a:solidFill>
                <a:latin typeface="等线 Light" panose="02010600030101010101" pitchFamily="2" charset="-122"/>
                <a:ea typeface="等线 Light" panose="02010600030101010101" pitchFamily="2" charset="-122"/>
              </a:rPr>
              <a:t>这里可以添加主要内容</a:t>
            </a:r>
          </a:p>
        </p:txBody>
      </p:sp>
      <p:sp>
        <p:nvSpPr>
          <p:cNvPr id="16" name="TextBox 17"/>
          <p:cNvSpPr txBox="1">
            <a:spLocks noChangeArrowheads="1"/>
          </p:cNvSpPr>
          <p:nvPr/>
        </p:nvSpPr>
        <p:spPr bwMode="auto">
          <a:xfrm>
            <a:off x="173438" y="3699091"/>
            <a:ext cx="2713565" cy="369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eaLnBrk="1" hangingPunct="1"/>
            <a:r>
              <a:rPr lang="zh-CN" altLang="en-US" sz="1799" dirty="0">
                <a:solidFill>
                  <a:schemeClr val="bg1"/>
                </a:solidFill>
                <a:latin typeface="等线 Light" panose="02010600030101010101" pitchFamily="2" charset="-122"/>
                <a:ea typeface="等线 Light" panose="02010600030101010101" pitchFamily="2" charset="-122"/>
              </a:rPr>
              <a:t>这里可以添加主要内容</a:t>
            </a:r>
          </a:p>
        </p:txBody>
      </p:sp>
      <p:sp>
        <p:nvSpPr>
          <p:cNvPr id="17" name="TextBox 18"/>
          <p:cNvSpPr txBox="1">
            <a:spLocks noChangeArrowheads="1"/>
          </p:cNvSpPr>
          <p:nvPr/>
        </p:nvSpPr>
        <p:spPr bwMode="auto">
          <a:xfrm>
            <a:off x="1182694" y="5518450"/>
            <a:ext cx="2715152" cy="369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eaLnBrk="1" hangingPunct="1"/>
            <a:r>
              <a:rPr lang="zh-CN" altLang="en-US" sz="1799" dirty="0">
                <a:solidFill>
                  <a:schemeClr val="bg1"/>
                </a:solidFill>
                <a:latin typeface="等线 Light" panose="02010600030101010101" pitchFamily="2" charset="-122"/>
                <a:ea typeface="等线 Light" panose="02010600030101010101" pitchFamily="2" charset="-122"/>
              </a:rPr>
              <a:t>这里可以添加主要内容</a:t>
            </a:r>
          </a:p>
        </p:txBody>
      </p:sp>
      <p:sp>
        <p:nvSpPr>
          <p:cNvPr id="18" name="TextBox 19"/>
          <p:cNvSpPr txBox="1">
            <a:spLocks noChangeArrowheads="1"/>
          </p:cNvSpPr>
          <p:nvPr/>
        </p:nvSpPr>
        <p:spPr bwMode="auto">
          <a:xfrm>
            <a:off x="9301172" y="3485658"/>
            <a:ext cx="2713565" cy="92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799" dirty="0">
                <a:solidFill>
                  <a:schemeClr val="bg1"/>
                </a:solidFill>
                <a:latin typeface="等线 Light" panose="02010600030101010101" pitchFamily="2" charset="-122"/>
                <a:ea typeface="等线 Light" panose="02010600030101010101" pitchFamily="2" charset="-122"/>
              </a:rPr>
              <a:t>这里可以添加主要内容</a:t>
            </a:r>
            <a:endParaRPr lang="en-US" altLang="zh-CN" sz="1799" dirty="0">
              <a:solidFill>
                <a:schemeClr val="bg1"/>
              </a:solidFill>
              <a:latin typeface="等线 Light" panose="02010600030101010101" pitchFamily="2" charset="-122"/>
              <a:ea typeface="等线 Light" panose="02010600030101010101" pitchFamily="2" charset="-122"/>
            </a:endParaRPr>
          </a:p>
          <a:p>
            <a:pPr eaLnBrk="1" hangingPunct="1"/>
            <a:r>
              <a:rPr lang="zh-CN" altLang="en-US" sz="1799" dirty="0">
                <a:solidFill>
                  <a:schemeClr val="bg1"/>
                </a:solidFill>
                <a:latin typeface="等线 Light" panose="02010600030101010101" pitchFamily="2" charset="-122"/>
                <a:ea typeface="等线 Light" panose="02010600030101010101" pitchFamily="2" charset="-122"/>
              </a:rPr>
              <a:t>这里可以添加主要内容</a:t>
            </a:r>
          </a:p>
          <a:p>
            <a:pPr eaLnBrk="1" hangingPunct="1"/>
            <a:r>
              <a:rPr lang="zh-CN" altLang="en-US" sz="1799" dirty="0">
                <a:solidFill>
                  <a:schemeClr val="bg1"/>
                </a:solidFill>
                <a:latin typeface="等线 Light" panose="02010600030101010101" pitchFamily="2" charset="-122"/>
                <a:ea typeface="等线 Light" panose="02010600030101010101" pitchFamily="2" charset="-122"/>
              </a:rPr>
              <a:t>这里可以添加主要内容</a:t>
            </a:r>
          </a:p>
        </p:txBody>
      </p:sp>
      <p:sp>
        <p:nvSpPr>
          <p:cNvPr id="19"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20"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1"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23" name="音频 2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86719562"/>
      </p:ext>
    </p:extLst>
  </p:cSld>
  <p:clrMapOvr>
    <a:masterClrMapping/>
  </p:clrMapOvr>
  <mc:AlternateContent xmlns:mc="http://schemas.openxmlformats.org/markup-compatibility/2006" xmlns:p14="http://schemas.microsoft.com/office/powerpoint/2010/main">
    <mc:Choice Requires="p14">
      <p:transition spd="slow" p14:dur="1200" advTm="1156">
        <p:dissolve/>
      </p:transition>
    </mc:Choice>
    <mc:Fallback xmlns="">
      <p:transition spd="slow" advTm="1156">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childTnLst>
                          </p:cTn>
                        </p:par>
                        <p:par>
                          <p:cTn id="7" fill="hold">
                            <p:stCondLst>
                              <p:cond delay="0"/>
                            </p:stCondLst>
                            <p:childTnLst>
                              <p:par>
                                <p:cTn id="8" presetID="22" presetClass="entr" presetSubtype="1" fill="hold" nodeType="after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up)">
                                      <p:cBhvr>
                                        <p:cTn id="10" dur="500"/>
                                        <p:tgtEl>
                                          <p:spTgt spid="3"/>
                                        </p:tgtEl>
                                      </p:cBhvr>
                                    </p:animEffect>
                                  </p:childTnLst>
                                </p:cTn>
                              </p:par>
                            </p:childTnLst>
                          </p:cTn>
                        </p:par>
                        <p:par>
                          <p:cTn id="11" fill="hold">
                            <p:stCondLst>
                              <p:cond delay="500"/>
                            </p:stCondLst>
                            <p:childTnLst>
                              <p:par>
                                <p:cTn id="12" presetID="2" presetClass="entr" presetSubtype="2"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500" fill="hold"/>
                                        <p:tgtEl>
                                          <p:spTgt spid="4"/>
                                        </p:tgtEl>
                                        <p:attrNameLst>
                                          <p:attrName>ppt_x</p:attrName>
                                        </p:attrNameLst>
                                      </p:cBhvr>
                                      <p:tavLst>
                                        <p:tav tm="0">
                                          <p:val>
                                            <p:strVal val="1+#ppt_w/2"/>
                                          </p:val>
                                        </p:tav>
                                        <p:tav tm="100000">
                                          <p:val>
                                            <p:strVal val="#ppt_x"/>
                                          </p:val>
                                        </p:tav>
                                      </p:tavLst>
                                    </p:anim>
                                    <p:anim calcmode="lin" valueType="num">
                                      <p:cBhvr additive="base">
                                        <p:cTn id="15" dur="500" fill="hold"/>
                                        <p:tgtEl>
                                          <p:spTgt spid="4"/>
                                        </p:tgtEl>
                                        <p:attrNameLst>
                                          <p:attrName>ppt_y</p:attrName>
                                        </p:attrNameLst>
                                      </p:cBhvr>
                                      <p:tavLst>
                                        <p:tav tm="0">
                                          <p:val>
                                            <p:strVal val="#ppt_y"/>
                                          </p:val>
                                        </p:tav>
                                        <p:tav tm="100000">
                                          <p:val>
                                            <p:strVal val="#ppt_y"/>
                                          </p:val>
                                        </p:tav>
                                      </p:tavLst>
                                    </p:anim>
                                  </p:childTnLst>
                                </p:cTn>
                              </p:par>
                              <p:par>
                                <p:cTn id="16" presetID="2" presetClass="entr" presetSubtype="2"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1+#ppt_w/2"/>
                                          </p:val>
                                        </p:tav>
                                        <p:tav tm="100000">
                                          <p:val>
                                            <p:strVal val="#ppt_x"/>
                                          </p:val>
                                        </p:tav>
                                      </p:tavLst>
                                    </p:anim>
                                    <p:anim calcmode="lin" valueType="num">
                                      <p:cBhvr additive="base">
                                        <p:cTn id="19" dur="500" fill="hold"/>
                                        <p:tgtEl>
                                          <p:spTgt spid="11"/>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1+#ppt_w/2"/>
                                          </p:val>
                                        </p:tav>
                                        <p:tav tm="100000">
                                          <p:val>
                                            <p:strVal val="#ppt_x"/>
                                          </p:val>
                                        </p:tav>
                                      </p:tavLst>
                                    </p:anim>
                                    <p:anim calcmode="lin" valueType="num">
                                      <p:cBhvr additive="base">
                                        <p:cTn id="23" dur="500" fill="hold"/>
                                        <p:tgtEl>
                                          <p:spTgt spid="12"/>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fill="hold"/>
                                        <p:tgtEl>
                                          <p:spTgt spid="5"/>
                                        </p:tgtEl>
                                        <p:attrNameLst>
                                          <p:attrName>ppt_x</p:attrName>
                                        </p:attrNameLst>
                                      </p:cBhvr>
                                      <p:tavLst>
                                        <p:tav tm="0">
                                          <p:val>
                                            <p:strVal val="1+#ppt_w/2"/>
                                          </p:val>
                                        </p:tav>
                                        <p:tav tm="100000">
                                          <p:val>
                                            <p:strVal val="#ppt_x"/>
                                          </p:val>
                                        </p:tav>
                                      </p:tavLst>
                                    </p:anim>
                                    <p:anim calcmode="lin" valueType="num">
                                      <p:cBhvr additive="base">
                                        <p:cTn id="27" dur="500" fill="hold"/>
                                        <p:tgtEl>
                                          <p:spTgt spid="5"/>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 calcmode="lin" valueType="num">
                                      <p:cBhvr additive="base">
                                        <p:cTn id="30" dur="500" fill="hold"/>
                                        <p:tgtEl>
                                          <p:spTgt spid="13"/>
                                        </p:tgtEl>
                                        <p:attrNameLst>
                                          <p:attrName>ppt_x</p:attrName>
                                        </p:attrNameLst>
                                      </p:cBhvr>
                                      <p:tavLst>
                                        <p:tav tm="0">
                                          <p:val>
                                            <p:strVal val="1+#ppt_w/2"/>
                                          </p:val>
                                        </p:tav>
                                        <p:tav tm="100000">
                                          <p:val>
                                            <p:strVal val="#ppt_x"/>
                                          </p:val>
                                        </p:tav>
                                      </p:tavLst>
                                    </p:anim>
                                    <p:anim calcmode="lin" valueType="num">
                                      <p:cBhvr additive="base">
                                        <p:cTn id="31" dur="500" fill="hold"/>
                                        <p:tgtEl>
                                          <p:spTgt spid="13"/>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500" fill="hold"/>
                                        <p:tgtEl>
                                          <p:spTgt spid="6"/>
                                        </p:tgtEl>
                                        <p:attrNameLst>
                                          <p:attrName>ppt_x</p:attrName>
                                        </p:attrNameLst>
                                      </p:cBhvr>
                                      <p:tavLst>
                                        <p:tav tm="0">
                                          <p:val>
                                            <p:strVal val="1+#ppt_w/2"/>
                                          </p:val>
                                        </p:tav>
                                        <p:tav tm="100000">
                                          <p:val>
                                            <p:strVal val="#ppt_x"/>
                                          </p:val>
                                        </p:tav>
                                      </p:tavLst>
                                    </p:anim>
                                    <p:anim calcmode="lin" valueType="num">
                                      <p:cBhvr additive="base">
                                        <p:cTn id="35" dur="500" fill="hold"/>
                                        <p:tgtEl>
                                          <p:spTgt spid="6"/>
                                        </p:tgtEl>
                                        <p:attrNameLst>
                                          <p:attrName>ppt_y</p:attrName>
                                        </p:attrNameLst>
                                      </p:cBhvr>
                                      <p:tavLst>
                                        <p:tav tm="0">
                                          <p:val>
                                            <p:strVal val="#ppt_y"/>
                                          </p:val>
                                        </p:tav>
                                        <p:tav tm="100000">
                                          <p:val>
                                            <p:strVal val="#ppt_y"/>
                                          </p:val>
                                        </p:tav>
                                      </p:tavLst>
                                    </p:anim>
                                  </p:childTnLst>
                                </p:cTn>
                              </p:par>
                            </p:childTnLst>
                          </p:cTn>
                        </p:par>
                        <p:par>
                          <p:cTn id="36" fill="hold">
                            <p:stCondLst>
                              <p:cond delay="1000"/>
                            </p:stCondLst>
                            <p:childTnLst>
                              <p:par>
                                <p:cTn id="37" presetID="22" presetClass="entr" presetSubtype="2"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wipe(right)">
                                      <p:cBhvr>
                                        <p:cTn id="39" dur="500"/>
                                        <p:tgtEl>
                                          <p:spTgt spid="15"/>
                                        </p:tgtEl>
                                      </p:cBhvr>
                                    </p:animEffect>
                                  </p:childTnLst>
                                </p:cTn>
                              </p:par>
                              <p:par>
                                <p:cTn id="40" presetID="22" presetClass="entr" presetSubtype="2"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wipe(right)">
                                      <p:cBhvr>
                                        <p:cTn id="42" dur="500"/>
                                        <p:tgtEl>
                                          <p:spTgt spid="16"/>
                                        </p:tgtEl>
                                      </p:cBhvr>
                                    </p:animEffect>
                                  </p:childTnLst>
                                </p:cTn>
                              </p:par>
                              <p:par>
                                <p:cTn id="43" presetID="22" presetClass="entr" presetSubtype="2"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par>
                          <p:cTn id="46" fill="hold">
                            <p:stCondLst>
                              <p:cond delay="1500"/>
                            </p:stCondLst>
                            <p:childTnLst>
                              <p:par>
                                <p:cTn id="47" presetID="22" presetClass="entr" presetSubtype="8" fill="hold" nodeType="after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wipe(left)">
                                      <p:cBhvr>
                                        <p:cTn id="49" dur="500"/>
                                        <p:tgtEl>
                                          <p:spTgt spid="7"/>
                                        </p:tgtEl>
                                      </p:cBhvr>
                                    </p:animEffect>
                                  </p:childTnLst>
                                </p:cTn>
                              </p:par>
                              <p:par>
                                <p:cTn id="50" presetID="22" presetClass="entr" presetSubtype="8" fill="hold"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wipe(left)">
                                      <p:cBhvr>
                                        <p:cTn id="52" dur="500"/>
                                        <p:tgtEl>
                                          <p:spTgt spid="9"/>
                                        </p:tgtEl>
                                      </p:cBhvr>
                                    </p:animEffect>
                                  </p:childTnLst>
                                </p:cTn>
                              </p:par>
                              <p:par>
                                <p:cTn id="53" presetID="22" presetClass="entr" presetSubtype="8" fill="hold" nodeType="with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wipe(left)">
                                      <p:cBhvr>
                                        <p:cTn id="55" dur="500"/>
                                        <p:tgtEl>
                                          <p:spTgt spid="8"/>
                                        </p:tgtEl>
                                      </p:cBhvr>
                                    </p:animEffect>
                                  </p:childTnLst>
                                </p:cTn>
                              </p:par>
                            </p:childTnLst>
                          </p:cTn>
                        </p:par>
                        <p:par>
                          <p:cTn id="56" fill="hold">
                            <p:stCondLst>
                              <p:cond delay="2000"/>
                            </p:stCondLst>
                            <p:childTnLst>
                              <p:par>
                                <p:cTn id="57" presetID="21" presetClass="entr" presetSubtype="1" fill="hold" grpId="0" nodeType="after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wheel(1)">
                                      <p:cBhvr>
                                        <p:cTn id="59" dur="2000"/>
                                        <p:tgtEl>
                                          <p:spTgt spid="10"/>
                                        </p:tgtEl>
                                      </p:cBhvr>
                                    </p:animEffect>
                                  </p:childTnLst>
                                </p:cTn>
                              </p:par>
                              <p:par>
                                <p:cTn id="60" presetID="21" presetClass="entr" presetSubtype="1" fill="hold" grpId="0" nodeType="withEffect">
                                  <p:stCondLst>
                                    <p:cond delay="0"/>
                                  </p:stCondLst>
                                  <p:childTnLst>
                                    <p:set>
                                      <p:cBhvr>
                                        <p:cTn id="61" dur="1" fill="hold">
                                          <p:stCondLst>
                                            <p:cond delay="0"/>
                                          </p:stCondLst>
                                        </p:cTn>
                                        <p:tgtEl>
                                          <p:spTgt spid="2"/>
                                        </p:tgtEl>
                                        <p:attrNameLst>
                                          <p:attrName>style.visibility</p:attrName>
                                        </p:attrNameLst>
                                      </p:cBhvr>
                                      <p:to>
                                        <p:strVal val="visible"/>
                                      </p:to>
                                    </p:set>
                                    <p:animEffect transition="in" filter="wheel(1)">
                                      <p:cBhvr>
                                        <p:cTn id="62" dur="2000"/>
                                        <p:tgtEl>
                                          <p:spTgt spid="2"/>
                                        </p:tgtEl>
                                      </p:cBhvr>
                                    </p:animEffect>
                                  </p:childTnLst>
                                </p:cTn>
                              </p:par>
                            </p:childTnLst>
                          </p:cTn>
                        </p:par>
                        <p:par>
                          <p:cTn id="63" fill="hold">
                            <p:stCondLst>
                              <p:cond delay="4000"/>
                            </p:stCondLst>
                            <p:childTnLst>
                              <p:par>
                                <p:cTn id="64" presetID="31" presetClass="entr" presetSubtype="0" fill="hold" grpId="0" nodeType="afterEffect">
                                  <p:stCondLst>
                                    <p:cond delay="0"/>
                                  </p:stCondLst>
                                  <p:childTnLst>
                                    <p:set>
                                      <p:cBhvr>
                                        <p:cTn id="65" dur="1" fill="hold">
                                          <p:stCondLst>
                                            <p:cond delay="0"/>
                                          </p:stCondLst>
                                        </p:cTn>
                                        <p:tgtEl>
                                          <p:spTgt spid="14"/>
                                        </p:tgtEl>
                                        <p:attrNameLst>
                                          <p:attrName>style.visibility</p:attrName>
                                        </p:attrNameLst>
                                      </p:cBhvr>
                                      <p:to>
                                        <p:strVal val="visible"/>
                                      </p:to>
                                    </p:set>
                                    <p:anim calcmode="lin" valueType="num">
                                      <p:cBhvr>
                                        <p:cTn id="66" dur="500" fill="hold"/>
                                        <p:tgtEl>
                                          <p:spTgt spid="14"/>
                                        </p:tgtEl>
                                        <p:attrNameLst>
                                          <p:attrName>ppt_w</p:attrName>
                                        </p:attrNameLst>
                                      </p:cBhvr>
                                      <p:tavLst>
                                        <p:tav tm="0">
                                          <p:val>
                                            <p:fltVal val="0"/>
                                          </p:val>
                                        </p:tav>
                                        <p:tav tm="100000">
                                          <p:val>
                                            <p:strVal val="#ppt_w"/>
                                          </p:val>
                                        </p:tav>
                                      </p:tavLst>
                                    </p:anim>
                                    <p:anim calcmode="lin" valueType="num">
                                      <p:cBhvr>
                                        <p:cTn id="67" dur="500" fill="hold"/>
                                        <p:tgtEl>
                                          <p:spTgt spid="14"/>
                                        </p:tgtEl>
                                        <p:attrNameLst>
                                          <p:attrName>ppt_h</p:attrName>
                                        </p:attrNameLst>
                                      </p:cBhvr>
                                      <p:tavLst>
                                        <p:tav tm="0">
                                          <p:val>
                                            <p:fltVal val="0"/>
                                          </p:val>
                                        </p:tav>
                                        <p:tav tm="100000">
                                          <p:val>
                                            <p:strVal val="#ppt_h"/>
                                          </p:val>
                                        </p:tav>
                                      </p:tavLst>
                                    </p:anim>
                                    <p:anim calcmode="lin" valueType="num">
                                      <p:cBhvr>
                                        <p:cTn id="68" dur="500" fill="hold"/>
                                        <p:tgtEl>
                                          <p:spTgt spid="14"/>
                                        </p:tgtEl>
                                        <p:attrNameLst>
                                          <p:attrName>style.rotation</p:attrName>
                                        </p:attrNameLst>
                                      </p:cBhvr>
                                      <p:tavLst>
                                        <p:tav tm="0">
                                          <p:val>
                                            <p:fltVal val="90"/>
                                          </p:val>
                                        </p:tav>
                                        <p:tav tm="100000">
                                          <p:val>
                                            <p:fltVal val="0"/>
                                          </p:val>
                                        </p:tav>
                                      </p:tavLst>
                                    </p:anim>
                                    <p:animEffect transition="in" filter="fade">
                                      <p:cBhvr>
                                        <p:cTn id="69" dur="500"/>
                                        <p:tgtEl>
                                          <p:spTgt spid="14"/>
                                        </p:tgtEl>
                                      </p:cBhvr>
                                    </p:animEffect>
                                  </p:childTnLst>
                                </p:cTn>
                              </p:par>
                            </p:childTnLst>
                          </p:cTn>
                        </p:par>
                        <p:par>
                          <p:cTn id="70" fill="hold">
                            <p:stCondLst>
                              <p:cond delay="4500"/>
                            </p:stCondLst>
                            <p:childTnLst>
                              <p:par>
                                <p:cTn id="71" presetID="22" presetClass="entr" presetSubtype="8" fill="hold" grpId="0" nodeType="after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wipe(left)">
                                      <p:cBhvr>
                                        <p:cTn id="7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4" fill="hold" display="0">
                  <p:stCondLst>
                    <p:cond delay="indefinite"/>
                  </p:stCondLst>
                  <p:endCondLst>
                    <p:cond evt="onStopAudio" delay="0">
                      <p:tgtEl>
                        <p:sldTgt/>
                      </p:tgtEl>
                    </p:cond>
                  </p:endCondLst>
                </p:cTn>
                <p:tgtEl>
                  <p:spTgt spid="23"/>
                </p:tgtEl>
              </p:cMediaNode>
            </p:audio>
          </p:childTnLst>
        </p:cTn>
      </p:par>
    </p:tnLst>
    <p:bldLst>
      <p:bldP spid="2" grpId="0" animBg="1" autoUpdateAnimBg="0"/>
      <p:bldP spid="4" grpId="0" animBg="1" autoUpdateAnimBg="0"/>
      <p:bldP spid="5" grpId="0" animBg="1" autoUpdateAnimBg="0"/>
      <p:bldP spid="6" grpId="0" animBg="1" autoUpdateAnimBg="0"/>
      <p:bldP spid="10" grpId="0" animBg="1" autoUpdateAnimBg="0"/>
      <p:bldP spid="11" grpId="0" autoUpdateAnimBg="0"/>
      <p:bldP spid="12" grpId="0" autoUpdateAnimBg="0"/>
      <p:bldP spid="13" grpId="0" autoUpdateAnimBg="0"/>
      <p:bldP spid="14" grpId="0" autoUpdateAnimBg="0"/>
      <p:bldP spid="15" grpId="0" autoUpdateAnimBg="0"/>
      <p:bldP spid="16" grpId="0" autoUpdateAnimBg="0"/>
      <p:bldP spid="17" grpId="0" autoUpdateAnimBg="0"/>
      <p:bldP spid="18" grpId="0"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100000">
              <a:schemeClr val="tx1"/>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6" name="文本框 5"/>
          <p:cNvSpPr txBox="1"/>
          <p:nvPr/>
        </p:nvSpPr>
        <p:spPr>
          <a:xfrm>
            <a:off x="3083643" y="2633663"/>
            <a:ext cx="6083717" cy="1862048"/>
          </a:xfrm>
          <a:prstGeom prst="rect">
            <a:avLst/>
          </a:prstGeom>
          <a:noFill/>
        </p:spPr>
        <p:txBody>
          <a:bodyPr wrap="none" rtlCol="0">
            <a:spAutoFit/>
          </a:bodyPr>
          <a:lstStyle/>
          <a:p>
            <a:r>
              <a:rPr lang="zh-CN" altLang="en-US" sz="11500" dirty="0">
                <a:solidFill>
                  <a:schemeClr val="bg1"/>
                </a:solidFill>
                <a:latin typeface="等线 Light" panose="02010600030101010101" pitchFamily="2" charset="-122"/>
                <a:ea typeface="等线 Light" panose="02010600030101010101" pitchFamily="2" charset="-122"/>
              </a:rPr>
              <a:t>谢谢下载</a:t>
            </a:r>
            <a:endParaRPr lang="zh-CN" altLang="en-US" sz="6600" dirty="0">
              <a:solidFill>
                <a:schemeClr val="bg1"/>
              </a:solidFill>
              <a:latin typeface="等线 Light" panose="02010600030101010101" pitchFamily="2" charset="-122"/>
              <a:ea typeface="等线 Light" panose="02010600030101010101" pitchFamily="2" charset="-122"/>
            </a:endParaRPr>
          </a:p>
        </p:txBody>
      </p:sp>
      <p:cxnSp>
        <p:nvCxnSpPr>
          <p:cNvPr id="8" name="直接连接符 7"/>
          <p:cNvCxnSpPr/>
          <p:nvPr/>
        </p:nvCxnSpPr>
        <p:spPr>
          <a:xfrm>
            <a:off x="2363126" y="4517261"/>
            <a:ext cx="75247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4938590" y="1517423"/>
            <a:ext cx="3176709" cy="1200329"/>
          </a:xfrm>
          <a:prstGeom prst="rect">
            <a:avLst/>
          </a:prstGeom>
          <a:noFill/>
        </p:spPr>
        <p:txBody>
          <a:bodyPr wrap="square" rtlCol="0">
            <a:spAutoFit/>
          </a:bodyPr>
          <a:lstStyle/>
          <a:p>
            <a:r>
              <a:rPr lang="en-US" altLang="zh-CN" sz="7200" dirty="0">
                <a:solidFill>
                  <a:schemeClr val="bg1"/>
                </a:solidFill>
                <a:latin typeface="等线 Light" panose="02010600030101010101" pitchFamily="2" charset="-122"/>
                <a:ea typeface="等线 Light" panose="02010600030101010101" pitchFamily="2" charset="-122"/>
              </a:rPr>
              <a:t>logo</a:t>
            </a:r>
            <a:endParaRPr lang="zh-CN" altLang="en-US" sz="7200" dirty="0">
              <a:solidFill>
                <a:schemeClr val="bg1"/>
              </a:solidFill>
              <a:latin typeface="等线 Light" panose="02010600030101010101" pitchFamily="2" charset="-122"/>
              <a:ea typeface="等线 Light" panose="02010600030101010101" pitchFamily="2" charset="-122"/>
            </a:endParaRPr>
          </a:p>
        </p:txBody>
      </p:sp>
      <p:pic>
        <p:nvPicPr>
          <p:cNvPr id="3" name="音频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1092455769"/>
      </p:ext>
    </p:extLst>
  </p:cSld>
  <p:clrMapOvr>
    <a:masterClrMapping/>
  </p:clrMapOvr>
  <mc:AlternateContent xmlns:mc="http://schemas.openxmlformats.org/markup-compatibility/2006" xmlns:p14="http://schemas.microsoft.com/office/powerpoint/2010/main">
    <mc:Choice Requires="p14">
      <p:transition spd="slow" p14:dur="1200" advTm="2690">
        <p:dissolve/>
      </p:transition>
    </mc:Choice>
    <mc:Fallback xmlns="">
      <p:transition spd="slow" advTm="269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6" presetClass="entr" presetSubtype="37"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arn(outVertical)">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2"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矩形 10"/>
          <p:cNvSpPr/>
          <p:nvPr/>
        </p:nvSpPr>
        <p:spPr>
          <a:xfrm>
            <a:off x="2454338" y="2612925"/>
            <a:ext cx="7175500" cy="179070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2"/>
          <p:cNvSpPr txBox="1">
            <a:spLocks noChangeArrowheads="1"/>
          </p:cNvSpPr>
          <p:nvPr/>
        </p:nvSpPr>
        <p:spPr bwMode="auto">
          <a:xfrm>
            <a:off x="3199035" y="2924075"/>
            <a:ext cx="5572125" cy="646113"/>
          </a:xfrm>
          <a:prstGeom prst="rect">
            <a:avLst/>
          </a:prstGeom>
          <a:noFill/>
          <a:ln w="9525">
            <a:noFill/>
            <a:miter lim="800000"/>
            <a:headEnd/>
            <a:tailEnd/>
          </a:ln>
        </p:spPr>
        <p:txBody>
          <a:bodyPr>
            <a:spAutoFit/>
          </a:bodyPr>
          <a:lstStyle/>
          <a:p>
            <a:pPr algn="ctr"/>
            <a:r>
              <a:rPr lang="zh-CN" altLang="en-US" sz="3600" dirty="0">
                <a:solidFill>
                  <a:schemeClr val="bg1"/>
                </a:solidFill>
                <a:latin typeface="等线 Light" panose="02010600030101010101" pitchFamily="2" charset="-122"/>
                <a:ea typeface="等线 Light" panose="02010600030101010101" pitchFamily="2" charset="-122"/>
              </a:rPr>
              <a:t>输入标题</a:t>
            </a:r>
            <a:endParaRPr lang="en-US" altLang="zh-CN" sz="3600" dirty="0">
              <a:solidFill>
                <a:schemeClr val="bg1"/>
              </a:solidFill>
              <a:latin typeface="等线 Light" panose="02010600030101010101" pitchFamily="2" charset="-122"/>
              <a:ea typeface="等线 Light" panose="02010600030101010101" pitchFamily="2" charset="-122"/>
            </a:endParaRPr>
          </a:p>
        </p:txBody>
      </p:sp>
      <p:sp>
        <p:nvSpPr>
          <p:cNvPr id="6" name="文本框 3"/>
          <p:cNvSpPr txBox="1">
            <a:spLocks noChangeArrowheads="1"/>
          </p:cNvSpPr>
          <p:nvPr/>
        </p:nvSpPr>
        <p:spPr bwMode="auto">
          <a:xfrm>
            <a:off x="5332514" y="3663741"/>
            <a:ext cx="1305165" cy="646331"/>
          </a:xfrm>
          <a:prstGeom prst="rect">
            <a:avLst/>
          </a:prstGeom>
          <a:noFill/>
          <a:ln w="9525">
            <a:noFill/>
            <a:miter lim="800000"/>
            <a:headEnd/>
            <a:tailEnd/>
          </a:ln>
        </p:spPr>
        <p:txBody>
          <a:bodyPr wrap="none">
            <a:spAutoFit/>
          </a:bodyPr>
          <a:lstStyle/>
          <a:p>
            <a:pPr eaLnBrk="1" hangingPunct="1">
              <a:buFont typeface="Arial" pitchFamily="34" charset="0"/>
              <a:buNone/>
            </a:pPr>
            <a:r>
              <a:rPr lang="en-US" altLang="zh-CN" sz="3600" b="1" dirty="0">
                <a:solidFill>
                  <a:schemeClr val="bg1"/>
                </a:solidFill>
                <a:latin typeface="等线 Light" panose="02010600030101010101" pitchFamily="2" charset="-122"/>
                <a:ea typeface="等线 Light" panose="02010600030101010101" pitchFamily="2" charset="-122"/>
              </a:rPr>
              <a:t>Part.1</a:t>
            </a:r>
            <a:endParaRPr lang="zh-CN" altLang="en-US" sz="3600" b="1" dirty="0">
              <a:solidFill>
                <a:schemeClr val="bg1"/>
              </a:solidFill>
              <a:latin typeface="等线 Light" panose="02010600030101010101" pitchFamily="2" charset="-122"/>
              <a:ea typeface="等线 Light" panose="02010600030101010101" pitchFamily="2" charset="-122"/>
            </a:endParaRPr>
          </a:p>
        </p:txBody>
      </p:sp>
      <p:cxnSp>
        <p:nvCxnSpPr>
          <p:cNvPr id="9" name="直接连接符 8"/>
          <p:cNvCxnSpPr/>
          <p:nvPr/>
        </p:nvCxnSpPr>
        <p:spPr>
          <a:xfrm>
            <a:off x="-14748" y="4403625"/>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693566017"/>
      </p:ext>
    </p:extLst>
  </p:cSld>
  <p:clrMapOvr>
    <a:masterClrMapping/>
  </p:clrMapOvr>
  <mc:AlternateContent xmlns:mc="http://schemas.openxmlformats.org/markup-compatibility/2006" xmlns:p14="http://schemas.microsoft.com/office/powerpoint/2010/main">
    <mc:Choice Requires="p14">
      <p:transition spd="slow" p14:dur="1200" advTm="637">
        <p:dissolve/>
      </p:transition>
    </mc:Choice>
    <mc:Fallback xmlns="">
      <p:transition spd="slow" advTm="637">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2" name="任意多边形: 形状 21"/>
          <p:cNvSpPr/>
          <p:nvPr/>
        </p:nvSpPr>
        <p:spPr>
          <a:xfrm rot="20754895">
            <a:off x="-674574" y="1620442"/>
            <a:ext cx="13951241" cy="6677902"/>
          </a:xfrm>
          <a:custGeom>
            <a:avLst/>
            <a:gdLst>
              <a:gd name="connsiteX0" fmla="*/ 13951241 w 13951241"/>
              <a:gd name="connsiteY0" fmla="*/ 0 h 6677902"/>
              <a:gd name="connsiteX1" fmla="*/ 13034225 w 13951241"/>
              <a:gd name="connsiteY1" fmla="*/ 3654821 h 6677902"/>
              <a:gd name="connsiteX2" fmla="*/ 13034224 w 13951241"/>
              <a:gd name="connsiteY2" fmla="*/ 4492872 h 6677902"/>
              <a:gd name="connsiteX3" fmla="*/ 12823953 w 13951241"/>
              <a:gd name="connsiteY3" fmla="*/ 4492872 h 6677902"/>
              <a:gd name="connsiteX4" fmla="*/ 12275716 w 13951241"/>
              <a:gd name="connsiteY4" fmla="*/ 6677902 h 6677902"/>
              <a:gd name="connsiteX5" fmla="*/ 11252402 w 13951241"/>
              <a:gd name="connsiteY5" fmla="*/ 4492872 h 6677902"/>
              <a:gd name="connsiteX6" fmla="*/ 0 w 13951241"/>
              <a:gd name="connsiteY6" fmla="*/ 4492872 h 6677902"/>
              <a:gd name="connsiteX7" fmla="*/ 0 w 13951241"/>
              <a:gd name="connsiteY7" fmla="*/ 44489 h 6677902"/>
              <a:gd name="connsiteX8" fmla="*/ 9169092 w 13951241"/>
              <a:gd name="connsiteY8" fmla="*/ 44489 h 6677902"/>
              <a:gd name="connsiteX9" fmla="*/ 9168513 w 13951241"/>
              <a:gd name="connsiteY9" fmla="*/ 43253 h 6677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51241" h="6677902">
                <a:moveTo>
                  <a:pt x="13951241" y="0"/>
                </a:moveTo>
                <a:lnTo>
                  <a:pt x="13034225" y="3654821"/>
                </a:lnTo>
                <a:lnTo>
                  <a:pt x="13034224" y="4492872"/>
                </a:lnTo>
                <a:lnTo>
                  <a:pt x="12823953" y="4492872"/>
                </a:lnTo>
                <a:lnTo>
                  <a:pt x="12275716" y="6677902"/>
                </a:lnTo>
                <a:lnTo>
                  <a:pt x="11252402" y="4492872"/>
                </a:lnTo>
                <a:lnTo>
                  <a:pt x="0" y="4492872"/>
                </a:lnTo>
                <a:lnTo>
                  <a:pt x="0" y="44489"/>
                </a:lnTo>
                <a:lnTo>
                  <a:pt x="9169092" y="44489"/>
                </a:lnTo>
                <a:lnTo>
                  <a:pt x="9168513" y="432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六边形 22"/>
          <p:cNvSpPr/>
          <p:nvPr/>
        </p:nvSpPr>
        <p:spPr>
          <a:xfrm>
            <a:off x="1847166" y="4029035"/>
            <a:ext cx="926395" cy="798616"/>
          </a:xfrm>
          <a:prstGeom prst="hexag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六边形 23"/>
          <p:cNvSpPr/>
          <p:nvPr/>
        </p:nvSpPr>
        <p:spPr>
          <a:xfrm>
            <a:off x="4354453" y="3230419"/>
            <a:ext cx="926395" cy="798616"/>
          </a:xfrm>
          <a:prstGeom prst="hexag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六边形 24"/>
          <p:cNvSpPr/>
          <p:nvPr/>
        </p:nvSpPr>
        <p:spPr>
          <a:xfrm>
            <a:off x="6687248" y="2599543"/>
            <a:ext cx="926395" cy="798616"/>
          </a:xfrm>
          <a:prstGeom prst="hexag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六边形 26"/>
          <p:cNvSpPr/>
          <p:nvPr/>
        </p:nvSpPr>
        <p:spPr>
          <a:xfrm rot="5400000">
            <a:off x="9284423" y="2416523"/>
            <a:ext cx="2706289" cy="2333007"/>
          </a:xfrm>
          <a:prstGeom prst="hexag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school-globe_66064"/>
          <p:cNvSpPr>
            <a:spLocks noChangeAspect="1"/>
          </p:cNvSpPr>
          <p:nvPr/>
        </p:nvSpPr>
        <p:spPr bwMode="auto">
          <a:xfrm>
            <a:off x="10391903" y="2483059"/>
            <a:ext cx="491328" cy="630129"/>
          </a:xfrm>
          <a:custGeom>
            <a:avLst/>
            <a:gdLst>
              <a:gd name="connsiteX0" fmla="*/ 142069 w 258704"/>
              <a:gd name="connsiteY0" fmla="*/ 223838 h 331788"/>
              <a:gd name="connsiteX1" fmla="*/ 136989 w 258704"/>
              <a:gd name="connsiteY1" fmla="*/ 229034 h 331788"/>
              <a:gd name="connsiteX2" fmla="*/ 129369 w 258704"/>
              <a:gd name="connsiteY2" fmla="*/ 238126 h 331788"/>
              <a:gd name="connsiteX3" fmla="*/ 148419 w 258704"/>
              <a:gd name="connsiteY3" fmla="*/ 231632 h 331788"/>
              <a:gd name="connsiteX4" fmla="*/ 142069 w 258704"/>
              <a:gd name="connsiteY4" fmla="*/ 223838 h 331788"/>
              <a:gd name="connsiteX5" fmla="*/ 107558 w 258704"/>
              <a:gd name="connsiteY5" fmla="*/ 196850 h 331788"/>
              <a:gd name="connsiteX6" fmla="*/ 97619 w 258704"/>
              <a:gd name="connsiteY6" fmla="*/ 234950 h 331788"/>
              <a:gd name="connsiteX7" fmla="*/ 121225 w 258704"/>
              <a:gd name="connsiteY7" fmla="*/ 215243 h 331788"/>
              <a:gd name="connsiteX8" fmla="*/ 126194 w 258704"/>
              <a:gd name="connsiteY8" fmla="*/ 207360 h 331788"/>
              <a:gd name="connsiteX9" fmla="*/ 107558 w 258704"/>
              <a:gd name="connsiteY9" fmla="*/ 196850 h 331788"/>
              <a:gd name="connsiteX10" fmla="*/ 45549 w 258704"/>
              <a:gd name="connsiteY10" fmla="*/ 193675 h 331788"/>
              <a:gd name="connsiteX11" fmla="*/ 34119 w 258704"/>
              <a:gd name="connsiteY11" fmla="*/ 197485 h 331788"/>
              <a:gd name="connsiteX12" fmla="*/ 48407 w 258704"/>
              <a:gd name="connsiteY12" fmla="*/ 212725 h 331788"/>
              <a:gd name="connsiteX13" fmla="*/ 48407 w 258704"/>
              <a:gd name="connsiteY13" fmla="*/ 207645 h 331788"/>
              <a:gd name="connsiteX14" fmla="*/ 45549 w 258704"/>
              <a:gd name="connsiteY14" fmla="*/ 193675 h 331788"/>
              <a:gd name="connsiteX15" fmla="*/ 65869 w 258704"/>
              <a:gd name="connsiteY15" fmla="*/ 188913 h 331788"/>
              <a:gd name="connsiteX16" fmla="*/ 67176 w 258704"/>
              <a:gd name="connsiteY16" fmla="*/ 203465 h 331788"/>
              <a:gd name="connsiteX17" fmla="*/ 77635 w 258704"/>
              <a:gd name="connsiteY17" fmla="*/ 228601 h 331788"/>
              <a:gd name="connsiteX18" fmla="*/ 88094 w 258704"/>
              <a:gd name="connsiteY18" fmla="*/ 190236 h 331788"/>
              <a:gd name="connsiteX19" fmla="*/ 65869 w 258704"/>
              <a:gd name="connsiteY19" fmla="*/ 188913 h 331788"/>
              <a:gd name="connsiteX20" fmla="*/ 166170 w 258704"/>
              <a:gd name="connsiteY20" fmla="*/ 174625 h 331788"/>
              <a:gd name="connsiteX21" fmla="*/ 153181 w 258704"/>
              <a:gd name="connsiteY21" fmla="*/ 205317 h 331788"/>
              <a:gd name="connsiteX22" fmla="*/ 166170 w 258704"/>
              <a:gd name="connsiteY22" fmla="*/ 220663 h 331788"/>
              <a:gd name="connsiteX23" fmla="*/ 196044 w 258704"/>
              <a:gd name="connsiteY23" fmla="*/ 183577 h 331788"/>
              <a:gd name="connsiteX24" fmla="*/ 166170 w 258704"/>
              <a:gd name="connsiteY24" fmla="*/ 174625 h 331788"/>
              <a:gd name="connsiteX25" fmla="*/ 118623 w 258704"/>
              <a:gd name="connsiteY25" fmla="*/ 160338 h 331788"/>
              <a:gd name="connsiteX26" fmla="*/ 113494 w 258704"/>
              <a:gd name="connsiteY26" fmla="*/ 177933 h 331788"/>
              <a:gd name="connsiteX27" fmla="*/ 136574 w 258704"/>
              <a:gd name="connsiteY27" fmla="*/ 190501 h 331788"/>
              <a:gd name="connsiteX28" fmla="*/ 146832 w 258704"/>
              <a:gd name="connsiteY28" fmla="*/ 167879 h 331788"/>
              <a:gd name="connsiteX29" fmla="*/ 118623 w 258704"/>
              <a:gd name="connsiteY29" fmla="*/ 160338 h 331788"/>
              <a:gd name="connsiteX30" fmla="*/ 71266 w 258704"/>
              <a:gd name="connsiteY30" fmla="*/ 146050 h 331788"/>
              <a:gd name="connsiteX31" fmla="*/ 67456 w 258704"/>
              <a:gd name="connsiteY31" fmla="*/ 168910 h 331788"/>
              <a:gd name="connsiteX32" fmla="*/ 94126 w 258704"/>
              <a:gd name="connsiteY32" fmla="*/ 171450 h 331788"/>
              <a:gd name="connsiteX33" fmla="*/ 99206 w 258704"/>
              <a:gd name="connsiteY33" fmla="*/ 153670 h 331788"/>
              <a:gd name="connsiteX34" fmla="*/ 22371 w 258704"/>
              <a:gd name="connsiteY34" fmla="*/ 130175 h 331788"/>
              <a:gd name="connsiteX35" fmla="*/ 26181 w 258704"/>
              <a:gd name="connsiteY35" fmla="*/ 179388 h 331788"/>
              <a:gd name="connsiteX36" fmla="*/ 46501 w 258704"/>
              <a:gd name="connsiteY36" fmla="*/ 172913 h 331788"/>
              <a:gd name="connsiteX37" fmla="*/ 51581 w 258704"/>
              <a:gd name="connsiteY37" fmla="*/ 139241 h 331788"/>
              <a:gd name="connsiteX38" fmla="*/ 22371 w 258704"/>
              <a:gd name="connsiteY38" fmla="*/ 130175 h 331788"/>
              <a:gd name="connsiteX39" fmla="*/ 131274 w 258704"/>
              <a:gd name="connsiteY39" fmla="*/ 120650 h 331788"/>
              <a:gd name="connsiteX40" fmla="*/ 126194 w 258704"/>
              <a:gd name="connsiteY40" fmla="*/ 138642 h 331788"/>
              <a:gd name="connsiteX41" fmla="*/ 154134 w 258704"/>
              <a:gd name="connsiteY41" fmla="*/ 147638 h 331788"/>
              <a:gd name="connsiteX42" fmla="*/ 157944 w 258704"/>
              <a:gd name="connsiteY42" fmla="*/ 123220 h 331788"/>
              <a:gd name="connsiteX43" fmla="*/ 152864 w 258704"/>
              <a:gd name="connsiteY43" fmla="*/ 123220 h 331788"/>
              <a:gd name="connsiteX44" fmla="*/ 131274 w 258704"/>
              <a:gd name="connsiteY44" fmla="*/ 120650 h 331788"/>
              <a:gd name="connsiteX45" fmla="*/ 199219 w 258704"/>
              <a:gd name="connsiteY45" fmla="*/ 114300 h 331788"/>
              <a:gd name="connsiteX46" fmla="*/ 178899 w 258704"/>
              <a:gd name="connsiteY46" fmla="*/ 120776 h 331788"/>
              <a:gd name="connsiteX47" fmla="*/ 173819 w 258704"/>
              <a:gd name="connsiteY47" fmla="*/ 154448 h 331788"/>
              <a:gd name="connsiteX48" fmla="*/ 203029 w 258704"/>
              <a:gd name="connsiteY48" fmla="*/ 163513 h 331788"/>
              <a:gd name="connsiteX49" fmla="*/ 199219 w 258704"/>
              <a:gd name="connsiteY49" fmla="*/ 114300 h 331788"/>
              <a:gd name="connsiteX50" fmla="*/ 86384 w 258704"/>
              <a:gd name="connsiteY50" fmla="*/ 103188 h 331788"/>
              <a:gd name="connsiteX51" fmla="*/ 76981 w 258704"/>
              <a:gd name="connsiteY51" fmla="*/ 124554 h 331788"/>
              <a:gd name="connsiteX52" fmla="*/ 106533 w 258704"/>
              <a:gd name="connsiteY52" fmla="*/ 133351 h 331788"/>
              <a:gd name="connsiteX53" fmla="*/ 111906 w 258704"/>
              <a:gd name="connsiteY53" fmla="*/ 115756 h 331788"/>
              <a:gd name="connsiteX54" fmla="*/ 86384 w 258704"/>
              <a:gd name="connsiteY54" fmla="*/ 103188 h 331788"/>
              <a:gd name="connsiteX55" fmla="*/ 175406 w 258704"/>
              <a:gd name="connsiteY55" fmla="*/ 80963 h 331788"/>
              <a:gd name="connsiteX56" fmla="*/ 176676 w 258704"/>
              <a:gd name="connsiteY56" fmla="*/ 85953 h 331788"/>
              <a:gd name="connsiteX57" fmla="*/ 177946 w 258704"/>
              <a:gd name="connsiteY57" fmla="*/ 98426 h 331788"/>
              <a:gd name="connsiteX58" fmla="*/ 188106 w 258704"/>
              <a:gd name="connsiteY58" fmla="*/ 95931 h 331788"/>
              <a:gd name="connsiteX59" fmla="*/ 175406 w 258704"/>
              <a:gd name="connsiteY59" fmla="*/ 80963 h 331788"/>
              <a:gd name="connsiteX60" fmla="*/ 58025 w 258704"/>
              <a:gd name="connsiteY60" fmla="*/ 71438 h 331788"/>
              <a:gd name="connsiteX61" fmla="*/ 27769 w 258704"/>
              <a:gd name="connsiteY61" fmla="*/ 110053 h 331788"/>
              <a:gd name="connsiteX62" fmla="*/ 58025 w 258704"/>
              <a:gd name="connsiteY62" fmla="*/ 119063 h 331788"/>
              <a:gd name="connsiteX63" fmla="*/ 70632 w 258704"/>
              <a:gd name="connsiteY63" fmla="*/ 88171 h 331788"/>
              <a:gd name="connsiteX64" fmla="*/ 58025 w 258704"/>
              <a:gd name="connsiteY64" fmla="*/ 71438 h 331788"/>
              <a:gd name="connsiteX65" fmla="*/ 147765 w 258704"/>
              <a:gd name="connsiteY65" fmla="*/ 65088 h 331788"/>
              <a:gd name="connsiteX66" fmla="*/ 137306 w 258704"/>
              <a:gd name="connsiteY66" fmla="*/ 102130 h 331788"/>
              <a:gd name="connsiteX67" fmla="*/ 159531 w 258704"/>
              <a:gd name="connsiteY67" fmla="*/ 103453 h 331788"/>
              <a:gd name="connsiteX68" fmla="*/ 158224 w 258704"/>
              <a:gd name="connsiteY68" fmla="*/ 88901 h 331788"/>
              <a:gd name="connsiteX69" fmla="*/ 147765 w 258704"/>
              <a:gd name="connsiteY69" fmla="*/ 65088 h 331788"/>
              <a:gd name="connsiteX70" fmla="*/ 127782 w 258704"/>
              <a:gd name="connsiteY70" fmla="*/ 58738 h 331788"/>
              <a:gd name="connsiteX71" fmla="*/ 102865 w 258704"/>
              <a:gd name="connsiteY71" fmla="*/ 78445 h 331788"/>
              <a:gd name="connsiteX72" fmla="*/ 97619 w 258704"/>
              <a:gd name="connsiteY72" fmla="*/ 85014 h 331788"/>
              <a:gd name="connsiteX73" fmla="*/ 115979 w 258704"/>
              <a:gd name="connsiteY73" fmla="*/ 96838 h 331788"/>
              <a:gd name="connsiteX74" fmla="*/ 127782 w 258704"/>
              <a:gd name="connsiteY74" fmla="*/ 58738 h 331788"/>
              <a:gd name="connsiteX75" fmla="*/ 96031 w 258704"/>
              <a:gd name="connsiteY75" fmla="*/ 55563 h 331788"/>
              <a:gd name="connsiteX76" fmla="*/ 76981 w 258704"/>
              <a:gd name="connsiteY76" fmla="*/ 60759 h 331788"/>
              <a:gd name="connsiteX77" fmla="*/ 83331 w 258704"/>
              <a:gd name="connsiteY77" fmla="*/ 69851 h 331788"/>
              <a:gd name="connsiteX78" fmla="*/ 88411 w 258704"/>
              <a:gd name="connsiteY78" fmla="*/ 63357 h 331788"/>
              <a:gd name="connsiteX79" fmla="*/ 96031 w 258704"/>
              <a:gd name="connsiteY79" fmla="*/ 55563 h 331788"/>
              <a:gd name="connsiteX80" fmla="*/ 159243 w 258704"/>
              <a:gd name="connsiteY80" fmla="*/ 28575 h 331788"/>
              <a:gd name="connsiteX81" fmla="*/ 155346 w 258704"/>
              <a:gd name="connsiteY81" fmla="*/ 41541 h 331788"/>
              <a:gd name="connsiteX82" fmla="*/ 185220 w 258704"/>
              <a:gd name="connsiteY82" fmla="*/ 59693 h 331788"/>
              <a:gd name="connsiteX83" fmla="*/ 212496 w 258704"/>
              <a:gd name="connsiteY83" fmla="*/ 93405 h 331788"/>
              <a:gd name="connsiteX84" fmla="*/ 225485 w 258704"/>
              <a:gd name="connsiteY84" fmla="*/ 133599 h 331788"/>
              <a:gd name="connsiteX85" fmla="*/ 220290 w 258704"/>
              <a:gd name="connsiteY85" fmla="*/ 178980 h 331788"/>
              <a:gd name="connsiteX86" fmla="*/ 178726 w 258704"/>
              <a:gd name="connsiteY86" fmla="*/ 237327 h 331788"/>
              <a:gd name="connsiteX87" fmla="*/ 147553 w 258704"/>
              <a:gd name="connsiteY87" fmla="*/ 254183 h 331788"/>
              <a:gd name="connsiteX88" fmla="*/ 112483 w 258704"/>
              <a:gd name="connsiteY88" fmla="*/ 259369 h 331788"/>
              <a:gd name="connsiteX89" fmla="*/ 90403 w 258704"/>
              <a:gd name="connsiteY89" fmla="*/ 256776 h 331788"/>
              <a:gd name="connsiteX90" fmla="*/ 86506 w 258704"/>
              <a:gd name="connsiteY90" fmla="*/ 269742 h 331788"/>
              <a:gd name="connsiteX91" fmla="*/ 172231 w 258704"/>
              <a:gd name="connsiteY91" fmla="*/ 258073 h 331788"/>
              <a:gd name="connsiteX92" fmla="*/ 233278 w 258704"/>
              <a:gd name="connsiteY92" fmla="*/ 182870 h 331788"/>
              <a:gd name="connsiteX93" fmla="*/ 224186 w 258704"/>
              <a:gd name="connsiteY93" fmla="*/ 86922 h 331788"/>
              <a:gd name="connsiteX94" fmla="*/ 159243 w 258704"/>
              <a:gd name="connsiteY94" fmla="*/ 28575 h 331788"/>
              <a:gd name="connsiteX95" fmla="*/ 126791 w 258704"/>
              <a:gd name="connsiteY95" fmla="*/ 0 h 331788"/>
              <a:gd name="connsiteX96" fmla="*/ 155146 w 258704"/>
              <a:gd name="connsiteY96" fmla="*/ 5184 h 331788"/>
              <a:gd name="connsiteX97" fmla="*/ 205412 w 258704"/>
              <a:gd name="connsiteY97" fmla="*/ 33697 h 331788"/>
              <a:gd name="connsiteX98" fmla="*/ 241500 w 258704"/>
              <a:gd name="connsiteY98" fmla="*/ 76467 h 331788"/>
              <a:gd name="connsiteX99" fmla="*/ 258255 w 258704"/>
              <a:gd name="connsiteY99" fmla="*/ 130901 h 331788"/>
              <a:gd name="connsiteX100" fmla="*/ 251811 w 258704"/>
              <a:gd name="connsiteY100" fmla="*/ 187927 h 331788"/>
              <a:gd name="connsiteX101" fmla="*/ 224745 w 258704"/>
              <a:gd name="connsiteY101" fmla="*/ 239769 h 331788"/>
              <a:gd name="connsiteX102" fmla="*/ 182212 w 258704"/>
              <a:gd name="connsiteY102" fmla="*/ 276058 h 331788"/>
              <a:gd name="connsiteX103" fmla="*/ 128080 w 258704"/>
              <a:gd name="connsiteY103" fmla="*/ 291611 h 331788"/>
              <a:gd name="connsiteX104" fmla="*/ 122925 w 258704"/>
              <a:gd name="connsiteY104" fmla="*/ 292907 h 331788"/>
              <a:gd name="connsiteX105" fmla="*/ 122925 w 258704"/>
              <a:gd name="connsiteY105" fmla="*/ 311051 h 331788"/>
              <a:gd name="connsiteX106" fmla="*/ 151280 w 258704"/>
              <a:gd name="connsiteY106" fmla="*/ 311051 h 331788"/>
              <a:gd name="connsiteX107" fmla="*/ 160302 w 258704"/>
              <a:gd name="connsiteY107" fmla="*/ 320124 h 331788"/>
              <a:gd name="connsiteX108" fmla="*/ 160302 w 258704"/>
              <a:gd name="connsiteY108" fmla="*/ 322716 h 331788"/>
              <a:gd name="connsiteX109" fmla="*/ 151280 w 258704"/>
              <a:gd name="connsiteY109" fmla="*/ 331788 h 331788"/>
              <a:gd name="connsiteX110" fmla="*/ 73948 w 258704"/>
              <a:gd name="connsiteY110" fmla="*/ 331788 h 331788"/>
              <a:gd name="connsiteX111" fmla="*/ 64926 w 258704"/>
              <a:gd name="connsiteY111" fmla="*/ 322716 h 331788"/>
              <a:gd name="connsiteX112" fmla="*/ 64926 w 258704"/>
              <a:gd name="connsiteY112" fmla="*/ 320124 h 331788"/>
              <a:gd name="connsiteX113" fmla="*/ 73948 w 258704"/>
              <a:gd name="connsiteY113" fmla="*/ 311051 h 331788"/>
              <a:gd name="connsiteX114" fmla="*/ 102303 w 258704"/>
              <a:gd name="connsiteY114" fmla="*/ 311051 h 331788"/>
              <a:gd name="connsiteX115" fmla="*/ 102303 w 258704"/>
              <a:gd name="connsiteY115" fmla="*/ 292907 h 331788"/>
              <a:gd name="connsiteX116" fmla="*/ 70081 w 258704"/>
              <a:gd name="connsiteY116" fmla="*/ 286427 h 331788"/>
              <a:gd name="connsiteX117" fmla="*/ 45593 w 258704"/>
              <a:gd name="connsiteY117" fmla="*/ 276058 h 331788"/>
              <a:gd name="connsiteX118" fmla="*/ 41726 w 258704"/>
              <a:gd name="connsiteY118" fmla="*/ 264394 h 331788"/>
              <a:gd name="connsiteX119" fmla="*/ 43015 w 258704"/>
              <a:gd name="connsiteY119" fmla="*/ 261802 h 331788"/>
              <a:gd name="connsiteX120" fmla="*/ 54615 w 258704"/>
              <a:gd name="connsiteY120" fmla="*/ 257913 h 331788"/>
              <a:gd name="connsiteX121" fmla="*/ 66215 w 258704"/>
              <a:gd name="connsiteY121" fmla="*/ 263098 h 331788"/>
              <a:gd name="connsiteX122" fmla="*/ 70081 w 258704"/>
              <a:gd name="connsiteY122" fmla="*/ 251433 h 331788"/>
              <a:gd name="connsiteX123" fmla="*/ 40437 w 258704"/>
              <a:gd name="connsiteY123" fmla="*/ 233289 h 331788"/>
              <a:gd name="connsiteX124" fmla="*/ 13371 w 258704"/>
              <a:gd name="connsiteY124" fmla="*/ 199591 h 331788"/>
              <a:gd name="connsiteX125" fmla="*/ 483 w 258704"/>
              <a:gd name="connsiteY125" fmla="*/ 158118 h 331788"/>
              <a:gd name="connsiteX126" fmla="*/ 4349 w 258704"/>
              <a:gd name="connsiteY126" fmla="*/ 114052 h 331788"/>
              <a:gd name="connsiteX127" fmla="*/ 45593 w 258704"/>
              <a:gd name="connsiteY127" fmla="*/ 54434 h 331788"/>
              <a:gd name="connsiteX128" fmla="*/ 77814 w 258704"/>
              <a:gd name="connsiteY128" fmla="*/ 38882 h 331788"/>
              <a:gd name="connsiteX129" fmla="*/ 112614 w 258704"/>
              <a:gd name="connsiteY129" fmla="*/ 33697 h 331788"/>
              <a:gd name="connsiteX130" fmla="*/ 134525 w 258704"/>
              <a:gd name="connsiteY130" fmla="*/ 34993 h 331788"/>
              <a:gd name="connsiteX131" fmla="*/ 138391 w 258704"/>
              <a:gd name="connsiteY131" fmla="*/ 23329 h 331788"/>
              <a:gd name="connsiteX132" fmla="*/ 125503 w 258704"/>
              <a:gd name="connsiteY132" fmla="*/ 20737 h 331788"/>
              <a:gd name="connsiteX133" fmla="*/ 117769 w 258704"/>
              <a:gd name="connsiteY133" fmla="*/ 11664 h 331788"/>
              <a:gd name="connsiteX134" fmla="*/ 117769 w 258704"/>
              <a:gd name="connsiteY134" fmla="*/ 7776 h 331788"/>
              <a:gd name="connsiteX135" fmla="*/ 126791 w 258704"/>
              <a:gd name="connsiteY135" fmla="*/ 0 h 33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58704" h="331788">
                <a:moveTo>
                  <a:pt x="142069" y="223838"/>
                </a:moveTo>
                <a:cubicBezTo>
                  <a:pt x="140799" y="225137"/>
                  <a:pt x="138259" y="227735"/>
                  <a:pt x="136989" y="229034"/>
                </a:cubicBezTo>
                <a:cubicBezTo>
                  <a:pt x="134449" y="232930"/>
                  <a:pt x="131909" y="235528"/>
                  <a:pt x="129369" y="238126"/>
                </a:cubicBezTo>
                <a:cubicBezTo>
                  <a:pt x="135719" y="236827"/>
                  <a:pt x="142069" y="234229"/>
                  <a:pt x="148419" y="231632"/>
                </a:cubicBezTo>
                <a:cubicBezTo>
                  <a:pt x="145879" y="229034"/>
                  <a:pt x="144609" y="226436"/>
                  <a:pt x="142069" y="223838"/>
                </a:cubicBezTo>
                <a:close/>
                <a:moveTo>
                  <a:pt x="107558" y="196850"/>
                </a:moveTo>
                <a:cubicBezTo>
                  <a:pt x="107558" y="196850"/>
                  <a:pt x="107558" y="196850"/>
                  <a:pt x="97619" y="234950"/>
                </a:cubicBezTo>
                <a:cubicBezTo>
                  <a:pt x="105073" y="232323"/>
                  <a:pt x="113770" y="225754"/>
                  <a:pt x="121225" y="215243"/>
                </a:cubicBezTo>
                <a:cubicBezTo>
                  <a:pt x="122467" y="212616"/>
                  <a:pt x="124952" y="209988"/>
                  <a:pt x="126194" y="207360"/>
                </a:cubicBezTo>
                <a:cubicBezTo>
                  <a:pt x="121225" y="203419"/>
                  <a:pt x="115013" y="199478"/>
                  <a:pt x="107558" y="196850"/>
                </a:cubicBezTo>
                <a:close/>
                <a:moveTo>
                  <a:pt x="45549" y="193675"/>
                </a:moveTo>
                <a:cubicBezTo>
                  <a:pt x="42692" y="194945"/>
                  <a:pt x="38405" y="196215"/>
                  <a:pt x="34119" y="197485"/>
                </a:cubicBezTo>
                <a:cubicBezTo>
                  <a:pt x="38405" y="202565"/>
                  <a:pt x="44120" y="207645"/>
                  <a:pt x="48407" y="212725"/>
                </a:cubicBezTo>
                <a:cubicBezTo>
                  <a:pt x="48407" y="211455"/>
                  <a:pt x="48407" y="208915"/>
                  <a:pt x="48407" y="207645"/>
                </a:cubicBezTo>
                <a:cubicBezTo>
                  <a:pt x="46978" y="202565"/>
                  <a:pt x="46978" y="198755"/>
                  <a:pt x="45549" y="193675"/>
                </a:cubicBezTo>
                <a:close/>
                <a:moveTo>
                  <a:pt x="65869" y="188913"/>
                </a:moveTo>
                <a:cubicBezTo>
                  <a:pt x="65869" y="194205"/>
                  <a:pt x="67176" y="199497"/>
                  <a:pt x="67176" y="203465"/>
                </a:cubicBezTo>
                <a:cubicBezTo>
                  <a:pt x="69791" y="214049"/>
                  <a:pt x="72406" y="223309"/>
                  <a:pt x="77635" y="228601"/>
                </a:cubicBezTo>
                <a:lnTo>
                  <a:pt x="88094" y="190236"/>
                </a:lnTo>
                <a:cubicBezTo>
                  <a:pt x="81557" y="188913"/>
                  <a:pt x="73713" y="188913"/>
                  <a:pt x="65869" y="188913"/>
                </a:cubicBezTo>
                <a:close/>
                <a:moveTo>
                  <a:pt x="166170" y="174625"/>
                </a:moveTo>
                <a:cubicBezTo>
                  <a:pt x="162273" y="184856"/>
                  <a:pt x="158377" y="195086"/>
                  <a:pt x="153181" y="205317"/>
                </a:cubicBezTo>
                <a:cubicBezTo>
                  <a:pt x="157078" y="210432"/>
                  <a:pt x="162273" y="215548"/>
                  <a:pt x="166170" y="220663"/>
                </a:cubicBezTo>
                <a:cubicBezTo>
                  <a:pt x="179159" y="211711"/>
                  <a:pt x="189550" y="198923"/>
                  <a:pt x="196044" y="183577"/>
                </a:cubicBezTo>
                <a:cubicBezTo>
                  <a:pt x="196044" y="183577"/>
                  <a:pt x="196044" y="183577"/>
                  <a:pt x="166170" y="174625"/>
                </a:cubicBezTo>
                <a:close/>
                <a:moveTo>
                  <a:pt x="118623" y="160338"/>
                </a:moveTo>
                <a:cubicBezTo>
                  <a:pt x="118623" y="160338"/>
                  <a:pt x="118623" y="160338"/>
                  <a:pt x="113494" y="177933"/>
                </a:cubicBezTo>
                <a:cubicBezTo>
                  <a:pt x="122470" y="180447"/>
                  <a:pt x="130163" y="185474"/>
                  <a:pt x="136574" y="190501"/>
                </a:cubicBezTo>
                <a:cubicBezTo>
                  <a:pt x="140421" y="182960"/>
                  <a:pt x="144268" y="175420"/>
                  <a:pt x="146832" y="167879"/>
                </a:cubicBezTo>
                <a:cubicBezTo>
                  <a:pt x="146832" y="167879"/>
                  <a:pt x="146832" y="167879"/>
                  <a:pt x="118623" y="160338"/>
                </a:cubicBezTo>
                <a:close/>
                <a:moveTo>
                  <a:pt x="71266" y="146050"/>
                </a:moveTo>
                <a:cubicBezTo>
                  <a:pt x="69996" y="153670"/>
                  <a:pt x="68726" y="161290"/>
                  <a:pt x="67456" y="168910"/>
                </a:cubicBezTo>
                <a:cubicBezTo>
                  <a:pt x="76346" y="168910"/>
                  <a:pt x="85236" y="170180"/>
                  <a:pt x="94126" y="171450"/>
                </a:cubicBezTo>
                <a:cubicBezTo>
                  <a:pt x="94126" y="171450"/>
                  <a:pt x="94126" y="171450"/>
                  <a:pt x="99206" y="153670"/>
                </a:cubicBezTo>
                <a:close/>
                <a:moveTo>
                  <a:pt x="22371" y="130175"/>
                </a:moveTo>
                <a:cubicBezTo>
                  <a:pt x="19831" y="147011"/>
                  <a:pt x="21101" y="163847"/>
                  <a:pt x="26181" y="179388"/>
                </a:cubicBezTo>
                <a:cubicBezTo>
                  <a:pt x="32531" y="176798"/>
                  <a:pt x="38881" y="174208"/>
                  <a:pt x="46501" y="172913"/>
                </a:cubicBezTo>
                <a:cubicBezTo>
                  <a:pt x="46501" y="161257"/>
                  <a:pt x="49041" y="150896"/>
                  <a:pt x="51581" y="139241"/>
                </a:cubicBezTo>
                <a:cubicBezTo>
                  <a:pt x="51581" y="139241"/>
                  <a:pt x="51581" y="139241"/>
                  <a:pt x="22371" y="130175"/>
                </a:cubicBezTo>
                <a:close/>
                <a:moveTo>
                  <a:pt x="131274" y="120650"/>
                </a:moveTo>
                <a:cubicBezTo>
                  <a:pt x="131274" y="120650"/>
                  <a:pt x="131274" y="120650"/>
                  <a:pt x="126194" y="138642"/>
                </a:cubicBezTo>
                <a:lnTo>
                  <a:pt x="154134" y="147638"/>
                </a:lnTo>
                <a:cubicBezTo>
                  <a:pt x="155404" y="139927"/>
                  <a:pt x="156674" y="130931"/>
                  <a:pt x="157944" y="123220"/>
                </a:cubicBezTo>
                <a:cubicBezTo>
                  <a:pt x="156674" y="123220"/>
                  <a:pt x="155404" y="123220"/>
                  <a:pt x="152864" y="123220"/>
                </a:cubicBezTo>
                <a:cubicBezTo>
                  <a:pt x="146514" y="123220"/>
                  <a:pt x="138894" y="123220"/>
                  <a:pt x="131274" y="120650"/>
                </a:cubicBezTo>
                <a:close/>
                <a:moveTo>
                  <a:pt x="199219" y="114300"/>
                </a:moveTo>
                <a:cubicBezTo>
                  <a:pt x="192869" y="116890"/>
                  <a:pt x="186519" y="119480"/>
                  <a:pt x="178899" y="120776"/>
                </a:cubicBezTo>
                <a:cubicBezTo>
                  <a:pt x="178899" y="131136"/>
                  <a:pt x="176359" y="142792"/>
                  <a:pt x="173819" y="154448"/>
                </a:cubicBezTo>
                <a:lnTo>
                  <a:pt x="203029" y="163513"/>
                </a:lnTo>
                <a:cubicBezTo>
                  <a:pt x="205569" y="146677"/>
                  <a:pt x="204299" y="129841"/>
                  <a:pt x="199219" y="114300"/>
                </a:cubicBezTo>
                <a:close/>
                <a:moveTo>
                  <a:pt x="86384" y="103188"/>
                </a:moveTo>
                <a:cubicBezTo>
                  <a:pt x="83697" y="109472"/>
                  <a:pt x="79667" y="117013"/>
                  <a:pt x="76981" y="124554"/>
                </a:cubicBezTo>
                <a:cubicBezTo>
                  <a:pt x="76981" y="124554"/>
                  <a:pt x="76981" y="124554"/>
                  <a:pt x="106533" y="133351"/>
                </a:cubicBezTo>
                <a:cubicBezTo>
                  <a:pt x="106533" y="133351"/>
                  <a:pt x="106533" y="133351"/>
                  <a:pt x="111906" y="115756"/>
                </a:cubicBezTo>
                <a:cubicBezTo>
                  <a:pt x="102503" y="111986"/>
                  <a:pt x="94444" y="108215"/>
                  <a:pt x="86384" y="103188"/>
                </a:cubicBezTo>
                <a:close/>
                <a:moveTo>
                  <a:pt x="175406" y="80963"/>
                </a:moveTo>
                <a:cubicBezTo>
                  <a:pt x="176676" y="82210"/>
                  <a:pt x="176676" y="83458"/>
                  <a:pt x="176676" y="85953"/>
                </a:cubicBezTo>
                <a:cubicBezTo>
                  <a:pt x="177946" y="89695"/>
                  <a:pt x="177946" y="94684"/>
                  <a:pt x="177946" y="98426"/>
                </a:cubicBezTo>
                <a:cubicBezTo>
                  <a:pt x="181756" y="98426"/>
                  <a:pt x="185566" y="97179"/>
                  <a:pt x="188106" y="95931"/>
                </a:cubicBezTo>
                <a:cubicBezTo>
                  <a:pt x="185566" y="89695"/>
                  <a:pt x="180486" y="84705"/>
                  <a:pt x="175406" y="80963"/>
                </a:cubicBezTo>
                <a:close/>
                <a:moveTo>
                  <a:pt x="58025" y="71438"/>
                </a:moveTo>
                <a:cubicBezTo>
                  <a:pt x="44158" y="81735"/>
                  <a:pt x="34072" y="94607"/>
                  <a:pt x="27769" y="110053"/>
                </a:cubicBezTo>
                <a:cubicBezTo>
                  <a:pt x="27769" y="110053"/>
                  <a:pt x="27769" y="110053"/>
                  <a:pt x="58025" y="119063"/>
                </a:cubicBezTo>
                <a:cubicBezTo>
                  <a:pt x="61807" y="107479"/>
                  <a:pt x="65589" y="97181"/>
                  <a:pt x="70632" y="88171"/>
                </a:cubicBezTo>
                <a:cubicBezTo>
                  <a:pt x="65589" y="83023"/>
                  <a:pt x="61807" y="77874"/>
                  <a:pt x="58025" y="71438"/>
                </a:cubicBezTo>
                <a:close/>
                <a:moveTo>
                  <a:pt x="147765" y="65088"/>
                </a:moveTo>
                <a:lnTo>
                  <a:pt x="137306" y="102130"/>
                </a:lnTo>
                <a:cubicBezTo>
                  <a:pt x="143843" y="103453"/>
                  <a:pt x="151687" y="104776"/>
                  <a:pt x="159531" y="103453"/>
                </a:cubicBezTo>
                <a:cubicBezTo>
                  <a:pt x="159531" y="98161"/>
                  <a:pt x="158224" y="94193"/>
                  <a:pt x="158224" y="88901"/>
                </a:cubicBezTo>
                <a:cubicBezTo>
                  <a:pt x="155609" y="78317"/>
                  <a:pt x="152994" y="70380"/>
                  <a:pt x="147765" y="65088"/>
                </a:cubicBezTo>
                <a:close/>
                <a:moveTo>
                  <a:pt x="127782" y="58738"/>
                </a:moveTo>
                <a:cubicBezTo>
                  <a:pt x="119914" y="61366"/>
                  <a:pt x="110733" y="67935"/>
                  <a:pt x="102865" y="78445"/>
                </a:cubicBezTo>
                <a:cubicBezTo>
                  <a:pt x="101553" y="79759"/>
                  <a:pt x="98931" y="82386"/>
                  <a:pt x="97619" y="85014"/>
                </a:cubicBezTo>
                <a:cubicBezTo>
                  <a:pt x="102865" y="88955"/>
                  <a:pt x="109422" y="92897"/>
                  <a:pt x="115979" y="96838"/>
                </a:cubicBezTo>
                <a:cubicBezTo>
                  <a:pt x="115979" y="96838"/>
                  <a:pt x="115979" y="96838"/>
                  <a:pt x="127782" y="58738"/>
                </a:cubicBezTo>
                <a:close/>
                <a:moveTo>
                  <a:pt x="96031" y="55563"/>
                </a:moveTo>
                <a:cubicBezTo>
                  <a:pt x="89681" y="56862"/>
                  <a:pt x="83331" y="58161"/>
                  <a:pt x="76981" y="60759"/>
                </a:cubicBezTo>
                <a:cubicBezTo>
                  <a:pt x="79521" y="64655"/>
                  <a:pt x="80791" y="67253"/>
                  <a:pt x="83331" y="69851"/>
                </a:cubicBezTo>
                <a:cubicBezTo>
                  <a:pt x="84601" y="67253"/>
                  <a:pt x="87141" y="65954"/>
                  <a:pt x="88411" y="63357"/>
                </a:cubicBezTo>
                <a:cubicBezTo>
                  <a:pt x="90951" y="60759"/>
                  <a:pt x="93491" y="58161"/>
                  <a:pt x="96031" y="55563"/>
                </a:cubicBezTo>
                <a:close/>
                <a:moveTo>
                  <a:pt x="159243" y="28575"/>
                </a:moveTo>
                <a:cubicBezTo>
                  <a:pt x="159243" y="28575"/>
                  <a:pt x="159243" y="28575"/>
                  <a:pt x="155346" y="41541"/>
                </a:cubicBezTo>
                <a:cubicBezTo>
                  <a:pt x="165737" y="45431"/>
                  <a:pt x="176128" y="51914"/>
                  <a:pt x="185220" y="59693"/>
                </a:cubicBezTo>
                <a:cubicBezTo>
                  <a:pt x="195611" y="68770"/>
                  <a:pt x="204703" y="80439"/>
                  <a:pt x="212496" y="93405"/>
                </a:cubicBezTo>
                <a:cubicBezTo>
                  <a:pt x="218991" y="106371"/>
                  <a:pt x="222887" y="119337"/>
                  <a:pt x="225485" y="133599"/>
                </a:cubicBezTo>
                <a:cubicBezTo>
                  <a:pt x="226784" y="149159"/>
                  <a:pt x="225485" y="164718"/>
                  <a:pt x="220290" y="178980"/>
                </a:cubicBezTo>
                <a:cubicBezTo>
                  <a:pt x="213795" y="202319"/>
                  <a:pt x="199508" y="223065"/>
                  <a:pt x="178726" y="237327"/>
                </a:cubicBezTo>
                <a:cubicBezTo>
                  <a:pt x="169634" y="245107"/>
                  <a:pt x="159243" y="250293"/>
                  <a:pt x="147553" y="254183"/>
                </a:cubicBezTo>
                <a:cubicBezTo>
                  <a:pt x="135863" y="256776"/>
                  <a:pt x="124173" y="259369"/>
                  <a:pt x="112483" y="259369"/>
                </a:cubicBezTo>
                <a:cubicBezTo>
                  <a:pt x="104690" y="259369"/>
                  <a:pt x="96897" y="258073"/>
                  <a:pt x="90403" y="256776"/>
                </a:cubicBezTo>
                <a:cubicBezTo>
                  <a:pt x="90403" y="256776"/>
                  <a:pt x="90403" y="256776"/>
                  <a:pt x="86506" y="269742"/>
                </a:cubicBezTo>
                <a:cubicBezTo>
                  <a:pt x="115081" y="276225"/>
                  <a:pt x="144955" y="272335"/>
                  <a:pt x="172231" y="258073"/>
                </a:cubicBezTo>
                <a:cubicBezTo>
                  <a:pt x="202105" y="241217"/>
                  <a:pt x="224186" y="215285"/>
                  <a:pt x="233278" y="182870"/>
                </a:cubicBezTo>
                <a:cubicBezTo>
                  <a:pt x="243669" y="150455"/>
                  <a:pt x="239773" y="116744"/>
                  <a:pt x="224186" y="86922"/>
                </a:cubicBezTo>
                <a:cubicBezTo>
                  <a:pt x="209899" y="59693"/>
                  <a:pt x="186519" y="40244"/>
                  <a:pt x="159243" y="28575"/>
                </a:cubicBezTo>
                <a:close/>
                <a:moveTo>
                  <a:pt x="126791" y="0"/>
                </a:moveTo>
                <a:cubicBezTo>
                  <a:pt x="137102" y="1296"/>
                  <a:pt x="146124" y="2592"/>
                  <a:pt x="155146" y="5184"/>
                </a:cubicBezTo>
                <a:cubicBezTo>
                  <a:pt x="173190" y="11664"/>
                  <a:pt x="191234" y="20737"/>
                  <a:pt x="205412" y="33697"/>
                </a:cubicBezTo>
                <a:cubicBezTo>
                  <a:pt x="220878" y="45362"/>
                  <a:pt x="232478" y="59618"/>
                  <a:pt x="241500" y="76467"/>
                </a:cubicBezTo>
                <a:cubicBezTo>
                  <a:pt x="250522" y="93316"/>
                  <a:pt x="255678" y="111460"/>
                  <a:pt x="258255" y="130901"/>
                </a:cubicBezTo>
                <a:cubicBezTo>
                  <a:pt x="259544" y="150342"/>
                  <a:pt x="258255" y="169782"/>
                  <a:pt x="251811" y="187927"/>
                </a:cubicBezTo>
                <a:cubicBezTo>
                  <a:pt x="246656" y="207368"/>
                  <a:pt x="237633" y="224216"/>
                  <a:pt x="224745" y="239769"/>
                </a:cubicBezTo>
                <a:cubicBezTo>
                  <a:pt x="213145" y="254025"/>
                  <a:pt x="197679" y="266986"/>
                  <a:pt x="182212" y="276058"/>
                </a:cubicBezTo>
                <a:cubicBezTo>
                  <a:pt x="165457" y="285130"/>
                  <a:pt x="147413" y="290315"/>
                  <a:pt x="128080" y="291611"/>
                </a:cubicBezTo>
                <a:cubicBezTo>
                  <a:pt x="126791" y="292907"/>
                  <a:pt x="124214" y="292907"/>
                  <a:pt x="122925" y="292907"/>
                </a:cubicBezTo>
                <a:cubicBezTo>
                  <a:pt x="122925" y="292907"/>
                  <a:pt x="122925" y="292907"/>
                  <a:pt x="122925" y="311051"/>
                </a:cubicBezTo>
                <a:cubicBezTo>
                  <a:pt x="122925" y="311051"/>
                  <a:pt x="122925" y="311051"/>
                  <a:pt x="151280" y="311051"/>
                </a:cubicBezTo>
                <a:cubicBezTo>
                  <a:pt x="156435" y="311051"/>
                  <a:pt x="160302" y="314940"/>
                  <a:pt x="160302" y="320124"/>
                </a:cubicBezTo>
                <a:cubicBezTo>
                  <a:pt x="160302" y="320124"/>
                  <a:pt x="160302" y="320124"/>
                  <a:pt x="160302" y="322716"/>
                </a:cubicBezTo>
                <a:cubicBezTo>
                  <a:pt x="160302" y="327900"/>
                  <a:pt x="156435" y="331788"/>
                  <a:pt x="151280" y="331788"/>
                </a:cubicBezTo>
                <a:cubicBezTo>
                  <a:pt x="151280" y="331788"/>
                  <a:pt x="151280" y="331788"/>
                  <a:pt x="73948" y="331788"/>
                </a:cubicBezTo>
                <a:cubicBezTo>
                  <a:pt x="68792" y="331788"/>
                  <a:pt x="64926" y="327900"/>
                  <a:pt x="64926" y="322716"/>
                </a:cubicBezTo>
                <a:cubicBezTo>
                  <a:pt x="64926" y="322716"/>
                  <a:pt x="64926" y="322716"/>
                  <a:pt x="64926" y="320124"/>
                </a:cubicBezTo>
                <a:cubicBezTo>
                  <a:pt x="64926" y="314940"/>
                  <a:pt x="68792" y="311051"/>
                  <a:pt x="73948" y="311051"/>
                </a:cubicBezTo>
                <a:cubicBezTo>
                  <a:pt x="73948" y="311051"/>
                  <a:pt x="73948" y="311051"/>
                  <a:pt x="102303" y="311051"/>
                </a:cubicBezTo>
                <a:cubicBezTo>
                  <a:pt x="102303" y="311051"/>
                  <a:pt x="102303" y="311051"/>
                  <a:pt x="102303" y="292907"/>
                </a:cubicBezTo>
                <a:cubicBezTo>
                  <a:pt x="91992" y="291611"/>
                  <a:pt x="80392" y="290315"/>
                  <a:pt x="70081" y="286427"/>
                </a:cubicBezTo>
                <a:cubicBezTo>
                  <a:pt x="62348" y="283834"/>
                  <a:pt x="53326" y="279946"/>
                  <a:pt x="45593" y="276058"/>
                </a:cubicBezTo>
                <a:cubicBezTo>
                  <a:pt x="40437" y="273466"/>
                  <a:pt x="39149" y="268282"/>
                  <a:pt x="41726" y="264394"/>
                </a:cubicBezTo>
                <a:cubicBezTo>
                  <a:pt x="41726" y="264394"/>
                  <a:pt x="41726" y="264394"/>
                  <a:pt x="43015" y="261802"/>
                </a:cubicBezTo>
                <a:cubicBezTo>
                  <a:pt x="45593" y="257913"/>
                  <a:pt x="50748" y="256617"/>
                  <a:pt x="54615" y="257913"/>
                </a:cubicBezTo>
                <a:cubicBezTo>
                  <a:pt x="58481" y="260506"/>
                  <a:pt x="62348" y="261802"/>
                  <a:pt x="66215" y="263098"/>
                </a:cubicBezTo>
                <a:cubicBezTo>
                  <a:pt x="66215" y="263098"/>
                  <a:pt x="66215" y="263098"/>
                  <a:pt x="70081" y="251433"/>
                </a:cubicBezTo>
                <a:cubicBezTo>
                  <a:pt x="59770" y="246249"/>
                  <a:pt x="49459" y="241065"/>
                  <a:pt x="40437" y="233289"/>
                </a:cubicBezTo>
                <a:cubicBezTo>
                  <a:pt x="30127" y="224216"/>
                  <a:pt x="19816" y="212552"/>
                  <a:pt x="13371" y="199591"/>
                </a:cubicBezTo>
                <a:cubicBezTo>
                  <a:pt x="6927" y="186631"/>
                  <a:pt x="1772" y="172374"/>
                  <a:pt x="483" y="158118"/>
                </a:cubicBezTo>
                <a:cubicBezTo>
                  <a:pt x="-806" y="142565"/>
                  <a:pt x="483" y="128309"/>
                  <a:pt x="4349" y="114052"/>
                </a:cubicBezTo>
                <a:cubicBezTo>
                  <a:pt x="12082" y="89427"/>
                  <a:pt x="26260" y="69987"/>
                  <a:pt x="45593" y="54434"/>
                </a:cubicBezTo>
                <a:cubicBezTo>
                  <a:pt x="55904" y="47954"/>
                  <a:pt x="66215" y="42770"/>
                  <a:pt x="77814" y="38882"/>
                </a:cubicBezTo>
                <a:cubicBezTo>
                  <a:pt x="88126" y="34993"/>
                  <a:pt x="101014" y="33697"/>
                  <a:pt x="112614" y="33697"/>
                </a:cubicBezTo>
                <a:cubicBezTo>
                  <a:pt x="120347" y="33697"/>
                  <a:pt x="128080" y="33697"/>
                  <a:pt x="134525" y="34993"/>
                </a:cubicBezTo>
                <a:cubicBezTo>
                  <a:pt x="134525" y="34993"/>
                  <a:pt x="134525" y="34993"/>
                  <a:pt x="138391" y="23329"/>
                </a:cubicBezTo>
                <a:cubicBezTo>
                  <a:pt x="134525" y="22033"/>
                  <a:pt x="129369" y="20737"/>
                  <a:pt x="125503" y="20737"/>
                </a:cubicBezTo>
                <a:cubicBezTo>
                  <a:pt x="120347" y="20737"/>
                  <a:pt x="117769" y="16848"/>
                  <a:pt x="117769" y="11664"/>
                </a:cubicBezTo>
                <a:cubicBezTo>
                  <a:pt x="117769" y="11664"/>
                  <a:pt x="117769" y="11664"/>
                  <a:pt x="117769" y="7776"/>
                </a:cubicBezTo>
                <a:cubicBezTo>
                  <a:pt x="117769" y="3888"/>
                  <a:pt x="122925" y="0"/>
                  <a:pt x="126791" y="0"/>
                </a:cubicBezTo>
                <a:close/>
              </a:path>
            </a:pathLst>
          </a:custGeom>
          <a:solidFill>
            <a:schemeClr val="bg1"/>
          </a:solidFill>
          <a:ln>
            <a:noFill/>
          </a:ln>
        </p:spPr>
      </p:sp>
      <p:grpSp>
        <p:nvGrpSpPr>
          <p:cNvPr id="40" name="Group 27"/>
          <p:cNvGrpSpPr/>
          <p:nvPr/>
        </p:nvGrpSpPr>
        <p:grpSpPr>
          <a:xfrm>
            <a:off x="1035772" y="5100109"/>
            <a:ext cx="2549181" cy="1082518"/>
            <a:chOff x="1762632" y="1197195"/>
            <a:chExt cx="2549181" cy="1082518"/>
          </a:xfrm>
        </p:grpSpPr>
        <p:sp>
          <p:nvSpPr>
            <p:cNvPr id="42" name="TextBox 28"/>
            <p:cNvSpPr txBox="1"/>
            <p:nvPr/>
          </p:nvSpPr>
          <p:spPr>
            <a:xfrm>
              <a:off x="1762632" y="1197195"/>
              <a:ext cx="2549181" cy="388226"/>
            </a:xfrm>
            <a:prstGeom prst="rect">
              <a:avLst/>
            </a:prstGeom>
            <a:noFill/>
          </p:spPr>
          <p:txBody>
            <a:bodyPr wrap="none" lIns="0" tIns="0" rIns="0" bIns="0" anchor="b" anchorCtr="1">
              <a:normAutofit/>
            </a:bodyPr>
            <a:lstStyle/>
            <a:p>
              <a:pPr algn="ctr"/>
              <a:r>
                <a:rPr lang="zh-CN" altLang="en-US" sz="1600" b="1" dirty="0">
                  <a:latin typeface="等线 Light" panose="02010600030101010101" pitchFamily="2" charset="-122"/>
                  <a:ea typeface="等线 Light" panose="02010600030101010101" pitchFamily="2" charset="-122"/>
                </a:rPr>
                <a:t>标题文本预设</a:t>
              </a:r>
            </a:p>
          </p:txBody>
        </p:sp>
        <p:sp>
          <p:nvSpPr>
            <p:cNvPr id="43" name="TextBox 29"/>
            <p:cNvSpPr txBox="1">
              <a:spLocks/>
            </p:cNvSpPr>
            <p:nvPr/>
          </p:nvSpPr>
          <p:spPr>
            <a:xfrm>
              <a:off x="1762632" y="1585420"/>
              <a:ext cx="2549181" cy="694293"/>
            </a:xfrm>
            <a:prstGeom prst="rect">
              <a:avLst/>
            </a:prstGeom>
          </p:spPr>
          <p:txBody>
            <a:bodyPr vert="horz" wrap="square" lIns="0" tIns="72000" rIns="0" bIns="0" anchor="t" anchorCtr="1">
              <a:normAutofit fontScale="92500"/>
            </a:bodyPr>
            <a:lstStyle/>
            <a:p>
              <a:pPr>
                <a:lnSpc>
                  <a:spcPct val="120000"/>
                </a:lnSpc>
              </a:pPr>
              <a:r>
                <a:rPr lang="zh-CN" altLang="en-US" sz="1050" dirty="0">
                  <a:latin typeface="等线 Light" panose="02010600030101010101" pitchFamily="2" charset="-122"/>
                  <a:ea typeface="等线 Light" panose="02010600030101010101" pitchFamily="2" charset="-122"/>
                </a:rPr>
                <a:t>此部分内容作为文字排版占位显示此部分内容作为文字排版占位显示此部分内容作为文字排版占位显示此部分内容作为文字排版占位显示</a:t>
              </a:r>
              <a:endParaRPr lang="zh-CN" altLang="en-US" sz="1050" dirty="0">
                <a:solidFill>
                  <a:schemeClr val="tx1">
                    <a:lumMod val="65000"/>
                    <a:lumOff val="35000"/>
                  </a:schemeClr>
                </a:solidFill>
                <a:latin typeface="等线 Light" panose="02010600030101010101" pitchFamily="2" charset="-122"/>
                <a:ea typeface="等线 Light" panose="02010600030101010101" pitchFamily="2" charset="-122"/>
              </a:endParaRPr>
            </a:p>
          </p:txBody>
        </p:sp>
      </p:grpSp>
      <p:grpSp>
        <p:nvGrpSpPr>
          <p:cNvPr id="50" name="Group 27"/>
          <p:cNvGrpSpPr/>
          <p:nvPr/>
        </p:nvGrpSpPr>
        <p:grpSpPr>
          <a:xfrm>
            <a:off x="9413624" y="3429000"/>
            <a:ext cx="2549181" cy="1082518"/>
            <a:chOff x="1762632" y="1197195"/>
            <a:chExt cx="2549181" cy="1082518"/>
          </a:xfrm>
        </p:grpSpPr>
        <p:sp>
          <p:nvSpPr>
            <p:cNvPr id="51" name="TextBox 28"/>
            <p:cNvSpPr txBox="1"/>
            <p:nvPr/>
          </p:nvSpPr>
          <p:spPr>
            <a:xfrm>
              <a:off x="1762632" y="1197195"/>
              <a:ext cx="2549181" cy="388226"/>
            </a:xfrm>
            <a:prstGeom prst="rect">
              <a:avLst/>
            </a:prstGeom>
            <a:noFill/>
          </p:spPr>
          <p:txBody>
            <a:bodyPr wrap="none" lIns="0" tIns="0" rIns="0" bIns="0" anchor="b" anchorCtr="1">
              <a:normAutofit/>
            </a:bodyPr>
            <a:lstStyle/>
            <a:p>
              <a:pPr algn="ctr"/>
              <a:r>
                <a:rPr lang="zh-CN" altLang="en-US" sz="1600" b="1" dirty="0">
                  <a:solidFill>
                    <a:schemeClr val="bg1"/>
                  </a:solidFill>
                  <a:latin typeface="等线 Light" panose="02010600030101010101" pitchFamily="2" charset="-122"/>
                  <a:ea typeface="等线 Light" panose="02010600030101010101" pitchFamily="2" charset="-122"/>
                </a:rPr>
                <a:t>标题文本预设</a:t>
              </a:r>
            </a:p>
          </p:txBody>
        </p:sp>
        <p:sp>
          <p:nvSpPr>
            <p:cNvPr id="52" name="TextBox 29"/>
            <p:cNvSpPr txBox="1">
              <a:spLocks/>
            </p:cNvSpPr>
            <p:nvPr/>
          </p:nvSpPr>
          <p:spPr>
            <a:xfrm>
              <a:off x="1762632" y="1585420"/>
              <a:ext cx="2549181" cy="694293"/>
            </a:xfrm>
            <a:prstGeom prst="rect">
              <a:avLst/>
            </a:prstGeom>
          </p:spPr>
          <p:txBody>
            <a:bodyPr vert="horz" wrap="square" lIns="0" tIns="72000" rIns="0" bIns="0" anchor="t" anchorCtr="1">
              <a:normAutofit/>
            </a:bodyPr>
            <a:lstStyle/>
            <a:p>
              <a:pPr>
                <a:lnSpc>
                  <a:spcPct val="120000"/>
                </a:lnSpc>
              </a:pPr>
              <a:r>
                <a:rPr lang="zh-CN" altLang="en-US" sz="1050" dirty="0">
                  <a:solidFill>
                    <a:schemeClr val="bg1"/>
                  </a:solidFill>
                  <a:latin typeface="等线 Light" panose="02010600030101010101" pitchFamily="2" charset="-122"/>
                  <a:ea typeface="等线 Light" panose="02010600030101010101" pitchFamily="2" charset="-122"/>
                </a:rPr>
                <a:t>此部分内容作为文字排版占位显示 </a:t>
              </a:r>
              <a:r>
                <a:rPr lang="zh-CN" altLang="en-US" sz="1050" dirty="0">
                  <a:solidFill>
                    <a:schemeClr val="bg1"/>
                  </a:solidFill>
                  <a:latin typeface="微软雅黑" panose="020B0503020204020204" pitchFamily="34" charset="-122"/>
                  <a:ea typeface="微软雅黑" panose="020B0503020204020204" pitchFamily="34" charset="-122"/>
                </a:rPr>
                <a:t/>
              </a:r>
              <a:br>
                <a:rPr lang="zh-CN" altLang="en-US" sz="1050" dirty="0">
                  <a:solidFill>
                    <a:schemeClr val="bg1"/>
                  </a:solidFill>
                  <a:latin typeface="微软雅黑" panose="020B0503020204020204" pitchFamily="34" charset="-122"/>
                  <a:ea typeface="微软雅黑" panose="020B0503020204020204" pitchFamily="34" charset="-122"/>
                </a:rPr>
              </a:br>
              <a:endParaRPr lang="zh-CN" altLang="en-US" sz="1050" dirty="0">
                <a:solidFill>
                  <a:schemeClr val="bg1"/>
                </a:solidFill>
                <a:latin typeface="微软雅黑" panose="020B0503020204020204" pitchFamily="34" charset="-122"/>
                <a:ea typeface="微软雅黑" panose="020B0503020204020204" pitchFamily="34" charset="-122"/>
              </a:endParaRPr>
            </a:p>
          </p:txBody>
        </p:sp>
      </p:grpSp>
      <p:sp>
        <p:nvSpPr>
          <p:cNvPr id="29"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30"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1"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6" name="Group 27"/>
          <p:cNvGrpSpPr/>
          <p:nvPr/>
        </p:nvGrpSpPr>
        <p:grpSpPr>
          <a:xfrm>
            <a:off x="3622799" y="4327759"/>
            <a:ext cx="2549181" cy="1082518"/>
            <a:chOff x="1762632" y="1197195"/>
            <a:chExt cx="2549181" cy="1082518"/>
          </a:xfrm>
        </p:grpSpPr>
        <p:sp>
          <p:nvSpPr>
            <p:cNvPr id="32" name="TextBox 28"/>
            <p:cNvSpPr txBox="1"/>
            <p:nvPr/>
          </p:nvSpPr>
          <p:spPr>
            <a:xfrm>
              <a:off x="1762632" y="1197195"/>
              <a:ext cx="2549181" cy="388226"/>
            </a:xfrm>
            <a:prstGeom prst="rect">
              <a:avLst/>
            </a:prstGeom>
            <a:noFill/>
          </p:spPr>
          <p:txBody>
            <a:bodyPr wrap="none" lIns="0" tIns="0" rIns="0" bIns="0" anchor="b" anchorCtr="1">
              <a:normAutofit/>
            </a:bodyPr>
            <a:lstStyle/>
            <a:p>
              <a:pPr algn="ctr"/>
              <a:r>
                <a:rPr lang="zh-CN" altLang="en-US" sz="1600" b="1" dirty="0">
                  <a:latin typeface="等线 Light" panose="02010600030101010101" pitchFamily="2" charset="-122"/>
                  <a:ea typeface="等线 Light" panose="02010600030101010101" pitchFamily="2" charset="-122"/>
                </a:rPr>
                <a:t>标题文本预设</a:t>
              </a:r>
            </a:p>
          </p:txBody>
        </p:sp>
        <p:sp>
          <p:nvSpPr>
            <p:cNvPr id="33" name="TextBox 29"/>
            <p:cNvSpPr txBox="1">
              <a:spLocks/>
            </p:cNvSpPr>
            <p:nvPr/>
          </p:nvSpPr>
          <p:spPr>
            <a:xfrm>
              <a:off x="1762632" y="1585420"/>
              <a:ext cx="2549181" cy="694293"/>
            </a:xfrm>
            <a:prstGeom prst="rect">
              <a:avLst/>
            </a:prstGeom>
          </p:spPr>
          <p:txBody>
            <a:bodyPr vert="horz" wrap="square" lIns="0" tIns="72000" rIns="0" bIns="0" anchor="t" anchorCtr="1">
              <a:normAutofit fontScale="92500"/>
            </a:bodyPr>
            <a:lstStyle/>
            <a:p>
              <a:pPr>
                <a:lnSpc>
                  <a:spcPct val="120000"/>
                </a:lnSpc>
              </a:pPr>
              <a:r>
                <a:rPr lang="zh-CN" altLang="en-US" sz="1050" dirty="0">
                  <a:latin typeface="等线 Light" panose="02010600030101010101" pitchFamily="2" charset="-122"/>
                  <a:ea typeface="等线 Light" panose="02010600030101010101" pitchFamily="2" charset="-122"/>
                </a:rPr>
                <a:t>此部分内容作为文字排版占位显示此部分内容作为文字排版占位显示此部分内容作为文字排版占位显示此部分内容作为文字排版占位显示</a:t>
              </a:r>
              <a:endParaRPr lang="zh-CN" altLang="en-US" sz="1050" dirty="0">
                <a:solidFill>
                  <a:schemeClr val="tx1">
                    <a:lumMod val="65000"/>
                    <a:lumOff val="35000"/>
                  </a:schemeClr>
                </a:solidFill>
                <a:latin typeface="等线 Light" panose="02010600030101010101" pitchFamily="2" charset="-122"/>
                <a:ea typeface="等线 Light" panose="02010600030101010101" pitchFamily="2" charset="-122"/>
              </a:endParaRPr>
            </a:p>
          </p:txBody>
        </p:sp>
      </p:grpSp>
      <p:grpSp>
        <p:nvGrpSpPr>
          <p:cNvPr id="34" name="Group 27"/>
          <p:cNvGrpSpPr/>
          <p:nvPr/>
        </p:nvGrpSpPr>
        <p:grpSpPr>
          <a:xfrm>
            <a:off x="6072645" y="3696883"/>
            <a:ext cx="2549181" cy="1082518"/>
            <a:chOff x="1762632" y="1197195"/>
            <a:chExt cx="2549181" cy="1082518"/>
          </a:xfrm>
        </p:grpSpPr>
        <p:sp>
          <p:nvSpPr>
            <p:cNvPr id="35" name="TextBox 28"/>
            <p:cNvSpPr txBox="1"/>
            <p:nvPr/>
          </p:nvSpPr>
          <p:spPr>
            <a:xfrm>
              <a:off x="1762632" y="1197195"/>
              <a:ext cx="2549181" cy="388226"/>
            </a:xfrm>
            <a:prstGeom prst="rect">
              <a:avLst/>
            </a:prstGeom>
            <a:noFill/>
          </p:spPr>
          <p:txBody>
            <a:bodyPr wrap="none" lIns="0" tIns="0" rIns="0" bIns="0" anchor="b" anchorCtr="1">
              <a:normAutofit/>
            </a:bodyPr>
            <a:lstStyle/>
            <a:p>
              <a:pPr algn="ctr"/>
              <a:r>
                <a:rPr lang="zh-CN" altLang="en-US" sz="1600" b="1" dirty="0">
                  <a:latin typeface="等线 Light" panose="02010600030101010101" pitchFamily="2" charset="-122"/>
                  <a:ea typeface="等线 Light" panose="02010600030101010101" pitchFamily="2" charset="-122"/>
                </a:rPr>
                <a:t>标题文本预设</a:t>
              </a:r>
            </a:p>
          </p:txBody>
        </p:sp>
        <p:sp>
          <p:nvSpPr>
            <p:cNvPr id="36" name="TextBox 29"/>
            <p:cNvSpPr txBox="1">
              <a:spLocks/>
            </p:cNvSpPr>
            <p:nvPr/>
          </p:nvSpPr>
          <p:spPr>
            <a:xfrm>
              <a:off x="1762632" y="1585420"/>
              <a:ext cx="2549181" cy="694293"/>
            </a:xfrm>
            <a:prstGeom prst="rect">
              <a:avLst/>
            </a:prstGeom>
          </p:spPr>
          <p:txBody>
            <a:bodyPr vert="horz" wrap="square" lIns="0" tIns="72000" rIns="0" bIns="0" anchor="t" anchorCtr="1">
              <a:normAutofit fontScale="92500"/>
            </a:bodyPr>
            <a:lstStyle/>
            <a:p>
              <a:pPr>
                <a:lnSpc>
                  <a:spcPct val="120000"/>
                </a:lnSpc>
              </a:pPr>
              <a:r>
                <a:rPr lang="zh-CN" altLang="en-US" sz="1050" dirty="0">
                  <a:latin typeface="等线 Light" panose="02010600030101010101" pitchFamily="2" charset="-122"/>
                  <a:ea typeface="等线 Light" panose="02010600030101010101" pitchFamily="2" charset="-122"/>
                </a:rPr>
                <a:t>此部分内容作为文字排版占位显示此部分内容作为文字排版占位显示此部分内容作为文字排版占位显示此部分内容作为文字排版占位显示</a:t>
              </a:r>
              <a:endParaRPr lang="zh-CN" altLang="en-US" sz="1050" dirty="0">
                <a:solidFill>
                  <a:schemeClr val="tx1">
                    <a:lumMod val="65000"/>
                    <a:lumOff val="35000"/>
                  </a:schemeClr>
                </a:solidFill>
                <a:latin typeface="等线 Light" panose="02010600030101010101" pitchFamily="2" charset="-122"/>
                <a:ea typeface="等线 Light" panose="02010600030101010101" pitchFamily="2" charset="-122"/>
              </a:endParaRPr>
            </a:p>
          </p:txBody>
        </p:sp>
      </p:grp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3901094716"/>
      </p:ext>
    </p:extLst>
  </p:cSld>
  <p:clrMapOvr>
    <a:masterClrMapping/>
  </p:clrMapOvr>
  <mc:AlternateContent xmlns:mc="http://schemas.openxmlformats.org/markup-compatibility/2006" xmlns:p14="http://schemas.microsoft.com/office/powerpoint/2010/main">
    <mc:Choice Requires="p14">
      <p:transition spd="slow" p14:dur="1200" advTm="1590">
        <p:dissolve/>
      </p:transition>
    </mc:Choice>
    <mc:Fallback xmlns="">
      <p:transition spd="slow" advTm="159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par>
                          <p:cTn id="7" fill="hold">
                            <p:stCondLst>
                              <p:cond delay="0"/>
                            </p:stCondLst>
                            <p:childTnLst>
                              <p:par>
                                <p:cTn id="8" presetID="2" presetClass="entr" presetSubtype="4" fill="hold" nodeType="afterEffect">
                                  <p:stCondLst>
                                    <p:cond delay="0"/>
                                  </p:stCondLst>
                                  <p:childTnLst>
                                    <p:set>
                                      <p:cBhvr>
                                        <p:cTn id="9" dur="1" fill="hold">
                                          <p:stCondLst>
                                            <p:cond delay="0"/>
                                          </p:stCondLst>
                                        </p:cTn>
                                        <p:tgtEl>
                                          <p:spTgt spid="40"/>
                                        </p:tgtEl>
                                        <p:attrNameLst>
                                          <p:attrName>style.visibility</p:attrName>
                                        </p:attrNameLst>
                                      </p:cBhvr>
                                      <p:to>
                                        <p:strVal val="visible"/>
                                      </p:to>
                                    </p:set>
                                    <p:anim calcmode="lin" valueType="num">
                                      <p:cBhvr additive="base">
                                        <p:cTn id="10" dur="500" fill="hold"/>
                                        <p:tgtEl>
                                          <p:spTgt spid="40"/>
                                        </p:tgtEl>
                                        <p:attrNameLst>
                                          <p:attrName>ppt_x</p:attrName>
                                        </p:attrNameLst>
                                      </p:cBhvr>
                                      <p:tavLst>
                                        <p:tav tm="0">
                                          <p:val>
                                            <p:strVal val="#ppt_x"/>
                                          </p:val>
                                        </p:tav>
                                        <p:tav tm="100000">
                                          <p:val>
                                            <p:strVal val="#ppt_x"/>
                                          </p:val>
                                        </p:tav>
                                      </p:tavLst>
                                    </p:anim>
                                    <p:anim calcmode="lin" valueType="num">
                                      <p:cBhvr additive="base">
                                        <p:cTn id="11" dur="500" fill="hold"/>
                                        <p:tgtEl>
                                          <p:spTgt spid="40"/>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2" presetClass="entr" presetSubtype="4"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2" presetClass="entr" presetSubtype="4" fill="hold" nodeType="afterEffect">
                                  <p:stCondLst>
                                    <p:cond delay="0"/>
                                  </p:stCondLst>
                                  <p:childTnLst>
                                    <p:set>
                                      <p:cBhvr>
                                        <p:cTn id="19" dur="1" fill="hold">
                                          <p:stCondLst>
                                            <p:cond delay="0"/>
                                          </p:stCondLst>
                                        </p:cTn>
                                        <p:tgtEl>
                                          <p:spTgt spid="34"/>
                                        </p:tgtEl>
                                        <p:attrNameLst>
                                          <p:attrName>style.visibility</p:attrName>
                                        </p:attrNameLst>
                                      </p:cBhvr>
                                      <p:to>
                                        <p:strVal val="visible"/>
                                      </p:to>
                                    </p:set>
                                    <p:anim calcmode="lin" valueType="num">
                                      <p:cBhvr additive="base">
                                        <p:cTn id="20" dur="500" fill="hold"/>
                                        <p:tgtEl>
                                          <p:spTgt spid="34"/>
                                        </p:tgtEl>
                                        <p:attrNameLst>
                                          <p:attrName>ppt_x</p:attrName>
                                        </p:attrNameLst>
                                      </p:cBhvr>
                                      <p:tavLst>
                                        <p:tav tm="0">
                                          <p:val>
                                            <p:strVal val="#ppt_x"/>
                                          </p:val>
                                        </p:tav>
                                        <p:tav tm="100000">
                                          <p:val>
                                            <p:strVal val="#ppt_x"/>
                                          </p:val>
                                        </p:tav>
                                      </p:tavLst>
                                    </p:anim>
                                    <p:anim calcmode="lin" valueType="num">
                                      <p:cBhvr additive="base">
                                        <p:cTn id="21"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2" fill="hold" display="0">
                  <p:stCondLst>
                    <p:cond delay="indefinite"/>
                  </p:stCondLst>
                  <p:endCondLst>
                    <p:cond evt="onStopAudio" delay="0">
                      <p:tgtEl>
                        <p:sldTgt/>
                      </p:tgtEl>
                    </p:cond>
                  </p:endCondLst>
                </p:cTn>
                <p:tgtEl>
                  <p:spTgt spid="3"/>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任意多边形: 形状 1"/>
          <p:cNvSpPr>
            <a:spLocks/>
          </p:cNvSpPr>
          <p:nvPr/>
        </p:nvSpPr>
        <p:spPr bwMode="auto">
          <a:xfrm>
            <a:off x="3097802" y="3008307"/>
            <a:ext cx="3070829" cy="1369427"/>
          </a:xfrm>
          <a:custGeom>
            <a:avLst/>
            <a:gdLst>
              <a:gd name="T0" fmla="*/ 204 w 296"/>
              <a:gd name="T1" fmla="*/ 132 h 132"/>
              <a:gd name="T2" fmla="*/ 296 w 296"/>
              <a:gd name="T3" fmla="*/ 0 h 132"/>
              <a:gd name="T4" fmla="*/ 95 w 296"/>
              <a:gd name="T5" fmla="*/ 0 h 132"/>
              <a:gd name="T6" fmla="*/ 0 w 296"/>
              <a:gd name="T7" fmla="*/ 132 h 132"/>
              <a:gd name="T8" fmla="*/ 204 w 296"/>
              <a:gd name="T9" fmla="*/ 132 h 132"/>
            </a:gdLst>
            <a:ahLst/>
            <a:cxnLst>
              <a:cxn ang="0">
                <a:pos x="T0" y="T1"/>
              </a:cxn>
              <a:cxn ang="0">
                <a:pos x="T2" y="T3"/>
              </a:cxn>
              <a:cxn ang="0">
                <a:pos x="T4" y="T5"/>
              </a:cxn>
              <a:cxn ang="0">
                <a:pos x="T6" y="T7"/>
              </a:cxn>
              <a:cxn ang="0">
                <a:pos x="T8" y="T9"/>
              </a:cxn>
            </a:cxnLst>
            <a:rect l="0" t="0" r="r" b="b"/>
            <a:pathLst>
              <a:path w="296" h="132">
                <a:moveTo>
                  <a:pt x="204" y="132"/>
                </a:moveTo>
                <a:lnTo>
                  <a:pt x="296" y="0"/>
                </a:lnTo>
                <a:lnTo>
                  <a:pt x="95" y="0"/>
                </a:lnTo>
                <a:lnTo>
                  <a:pt x="0" y="132"/>
                </a:lnTo>
                <a:lnTo>
                  <a:pt x="204" y="132"/>
                </a:lnTo>
                <a:close/>
              </a:path>
            </a:pathLst>
          </a:custGeom>
          <a:solidFill>
            <a:schemeClr val="accent5">
              <a:lumMod val="50000"/>
            </a:schemeClr>
          </a:solidFill>
          <a:ln>
            <a:noFill/>
          </a:ln>
        </p:spPr>
        <p:txBody>
          <a:bodyPr anchor="ctr"/>
          <a:lstStyle/>
          <a:p>
            <a:pPr algn="ctr"/>
            <a:endParaRPr/>
          </a:p>
        </p:txBody>
      </p:sp>
      <p:sp>
        <p:nvSpPr>
          <p:cNvPr id="3" name="任意多边形: 形状 2"/>
          <p:cNvSpPr>
            <a:spLocks/>
          </p:cNvSpPr>
          <p:nvPr/>
        </p:nvSpPr>
        <p:spPr bwMode="auto">
          <a:xfrm>
            <a:off x="5310710" y="3008307"/>
            <a:ext cx="3070829" cy="1369427"/>
          </a:xfrm>
          <a:custGeom>
            <a:avLst/>
            <a:gdLst>
              <a:gd name="T0" fmla="*/ 204 w 296"/>
              <a:gd name="T1" fmla="*/ 132 h 132"/>
              <a:gd name="T2" fmla="*/ 296 w 296"/>
              <a:gd name="T3" fmla="*/ 0 h 132"/>
              <a:gd name="T4" fmla="*/ 95 w 296"/>
              <a:gd name="T5" fmla="*/ 0 h 132"/>
              <a:gd name="T6" fmla="*/ 0 w 296"/>
              <a:gd name="T7" fmla="*/ 132 h 132"/>
              <a:gd name="T8" fmla="*/ 204 w 296"/>
              <a:gd name="T9" fmla="*/ 132 h 132"/>
            </a:gdLst>
            <a:ahLst/>
            <a:cxnLst>
              <a:cxn ang="0">
                <a:pos x="T0" y="T1"/>
              </a:cxn>
              <a:cxn ang="0">
                <a:pos x="T2" y="T3"/>
              </a:cxn>
              <a:cxn ang="0">
                <a:pos x="T4" y="T5"/>
              </a:cxn>
              <a:cxn ang="0">
                <a:pos x="T6" y="T7"/>
              </a:cxn>
              <a:cxn ang="0">
                <a:pos x="T8" y="T9"/>
              </a:cxn>
            </a:cxnLst>
            <a:rect l="0" t="0" r="r" b="b"/>
            <a:pathLst>
              <a:path w="296" h="132">
                <a:moveTo>
                  <a:pt x="204" y="132"/>
                </a:moveTo>
                <a:lnTo>
                  <a:pt x="296" y="0"/>
                </a:lnTo>
                <a:lnTo>
                  <a:pt x="95" y="0"/>
                </a:lnTo>
                <a:lnTo>
                  <a:pt x="0" y="132"/>
                </a:lnTo>
                <a:lnTo>
                  <a:pt x="204" y="132"/>
                </a:lnTo>
                <a:close/>
              </a:path>
            </a:pathLst>
          </a:custGeom>
          <a:solidFill>
            <a:schemeClr val="accent1">
              <a:lumMod val="50000"/>
            </a:schemeClr>
          </a:solidFill>
          <a:ln>
            <a:noFill/>
          </a:ln>
        </p:spPr>
        <p:txBody>
          <a:bodyPr anchor="ctr"/>
          <a:lstStyle/>
          <a:p>
            <a:pPr algn="ctr"/>
            <a:endParaRPr/>
          </a:p>
        </p:txBody>
      </p:sp>
      <p:sp>
        <p:nvSpPr>
          <p:cNvPr id="4" name="任意多边形: 形状 3"/>
          <p:cNvSpPr>
            <a:spLocks/>
          </p:cNvSpPr>
          <p:nvPr/>
        </p:nvSpPr>
        <p:spPr bwMode="auto">
          <a:xfrm>
            <a:off x="884894" y="3008307"/>
            <a:ext cx="3070829" cy="1369427"/>
          </a:xfrm>
          <a:custGeom>
            <a:avLst/>
            <a:gdLst>
              <a:gd name="T0" fmla="*/ 204 w 296"/>
              <a:gd name="T1" fmla="*/ 132 h 132"/>
              <a:gd name="T2" fmla="*/ 296 w 296"/>
              <a:gd name="T3" fmla="*/ 0 h 132"/>
              <a:gd name="T4" fmla="*/ 95 w 296"/>
              <a:gd name="T5" fmla="*/ 0 h 132"/>
              <a:gd name="T6" fmla="*/ 0 w 296"/>
              <a:gd name="T7" fmla="*/ 132 h 132"/>
              <a:gd name="T8" fmla="*/ 204 w 296"/>
              <a:gd name="T9" fmla="*/ 132 h 132"/>
            </a:gdLst>
            <a:ahLst/>
            <a:cxnLst>
              <a:cxn ang="0">
                <a:pos x="T0" y="T1"/>
              </a:cxn>
              <a:cxn ang="0">
                <a:pos x="T2" y="T3"/>
              </a:cxn>
              <a:cxn ang="0">
                <a:pos x="T4" y="T5"/>
              </a:cxn>
              <a:cxn ang="0">
                <a:pos x="T6" y="T7"/>
              </a:cxn>
              <a:cxn ang="0">
                <a:pos x="T8" y="T9"/>
              </a:cxn>
            </a:cxnLst>
            <a:rect l="0" t="0" r="r" b="b"/>
            <a:pathLst>
              <a:path w="296" h="132">
                <a:moveTo>
                  <a:pt x="204" y="132"/>
                </a:moveTo>
                <a:lnTo>
                  <a:pt x="296" y="0"/>
                </a:lnTo>
                <a:lnTo>
                  <a:pt x="95" y="0"/>
                </a:lnTo>
                <a:lnTo>
                  <a:pt x="0" y="132"/>
                </a:lnTo>
                <a:lnTo>
                  <a:pt x="204" y="132"/>
                </a:lnTo>
                <a:close/>
              </a:path>
            </a:pathLst>
          </a:custGeom>
          <a:solidFill>
            <a:schemeClr val="accent1">
              <a:lumMod val="50000"/>
            </a:schemeClr>
          </a:solidFill>
          <a:ln>
            <a:noFill/>
          </a:ln>
        </p:spPr>
        <p:txBody>
          <a:bodyPr anchor="ctr"/>
          <a:lstStyle/>
          <a:p>
            <a:pPr algn="ctr"/>
            <a:endParaRPr/>
          </a:p>
        </p:txBody>
      </p:sp>
      <p:sp>
        <p:nvSpPr>
          <p:cNvPr id="5" name="任意多边形: 形状 4"/>
          <p:cNvSpPr>
            <a:spLocks/>
          </p:cNvSpPr>
          <p:nvPr/>
        </p:nvSpPr>
        <p:spPr bwMode="auto">
          <a:xfrm>
            <a:off x="7523618" y="2300255"/>
            <a:ext cx="3801725" cy="2785531"/>
          </a:xfrm>
          <a:custGeom>
            <a:avLst/>
            <a:gdLst>
              <a:gd name="connsiteX0" fmla="*/ 1818396 w 3294359"/>
              <a:gd name="connsiteY0" fmla="*/ 0 h 2413783"/>
              <a:gd name="connsiteX1" fmla="*/ 3294359 w 3294359"/>
              <a:gd name="connsiteY1" fmla="*/ 1206892 h 2413783"/>
              <a:gd name="connsiteX2" fmla="*/ 1818396 w 3294359"/>
              <a:gd name="connsiteY2" fmla="*/ 2413783 h 2413783"/>
              <a:gd name="connsiteX3" fmla="*/ 1818396 w 3294359"/>
              <a:gd name="connsiteY3" fmla="*/ 1800225 h 2413783"/>
              <a:gd name="connsiteX4" fmla="*/ 0 w 3294359"/>
              <a:gd name="connsiteY4" fmla="*/ 1800225 h 2413783"/>
              <a:gd name="connsiteX5" fmla="*/ 853917 w 3294359"/>
              <a:gd name="connsiteY5" fmla="*/ 613557 h 2413783"/>
              <a:gd name="connsiteX6" fmla="*/ 1818396 w 3294359"/>
              <a:gd name="connsiteY6" fmla="*/ 619645 h 241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4359" h="2413783">
                <a:moveTo>
                  <a:pt x="1818396" y="0"/>
                </a:moveTo>
                <a:lnTo>
                  <a:pt x="3294359" y="1206892"/>
                </a:lnTo>
                <a:lnTo>
                  <a:pt x="1818396" y="2413783"/>
                </a:lnTo>
                <a:lnTo>
                  <a:pt x="1818396" y="1800225"/>
                </a:lnTo>
                <a:lnTo>
                  <a:pt x="0" y="1800225"/>
                </a:lnTo>
                <a:lnTo>
                  <a:pt x="853917" y="613557"/>
                </a:lnTo>
                <a:lnTo>
                  <a:pt x="1818396" y="619645"/>
                </a:lnTo>
                <a:close/>
              </a:path>
            </a:pathLst>
          </a:custGeom>
          <a:solidFill>
            <a:schemeClr val="accent5">
              <a:lumMod val="50000"/>
            </a:schemeClr>
          </a:solidFill>
          <a:ln>
            <a:noFill/>
          </a:ln>
        </p:spPr>
        <p:txBody>
          <a:bodyPr anchor="ctr"/>
          <a:lstStyle/>
          <a:p>
            <a:pPr algn="ctr"/>
            <a:endParaRPr/>
          </a:p>
        </p:txBody>
      </p:sp>
      <p:sp>
        <p:nvSpPr>
          <p:cNvPr id="6" name="任意多边形: 形状 5"/>
          <p:cNvSpPr>
            <a:spLocks/>
          </p:cNvSpPr>
          <p:nvPr/>
        </p:nvSpPr>
        <p:spPr bwMode="auto">
          <a:xfrm>
            <a:off x="1927939" y="3411633"/>
            <a:ext cx="915643" cy="501220"/>
          </a:xfrm>
          <a:custGeom>
            <a:avLst/>
            <a:gdLst>
              <a:gd name="T0" fmla="*/ 456 w 911"/>
              <a:gd name="T1" fmla="*/ 498 h 498"/>
              <a:gd name="T2" fmla="*/ 14 w 911"/>
              <a:gd name="T3" fmla="*/ 266 h 498"/>
              <a:gd name="T4" fmla="*/ 0 w 911"/>
              <a:gd name="T5" fmla="*/ 249 h 498"/>
              <a:gd name="T6" fmla="*/ 14 w 911"/>
              <a:gd name="T7" fmla="*/ 233 h 498"/>
              <a:gd name="T8" fmla="*/ 456 w 911"/>
              <a:gd name="T9" fmla="*/ 0 h 498"/>
              <a:gd name="T10" fmla="*/ 897 w 911"/>
              <a:gd name="T11" fmla="*/ 233 h 498"/>
              <a:gd name="T12" fmla="*/ 911 w 911"/>
              <a:gd name="T13" fmla="*/ 249 h 498"/>
              <a:gd name="T14" fmla="*/ 897 w 911"/>
              <a:gd name="T15" fmla="*/ 266 h 498"/>
              <a:gd name="T16" fmla="*/ 456 w 911"/>
              <a:gd name="T17" fmla="*/ 498 h 498"/>
              <a:gd name="T18" fmla="*/ 578 w 911"/>
              <a:gd name="T19" fmla="*/ 85 h 498"/>
              <a:gd name="T20" fmla="*/ 661 w 911"/>
              <a:gd name="T21" fmla="*/ 249 h 498"/>
              <a:gd name="T22" fmla="*/ 578 w 911"/>
              <a:gd name="T23" fmla="*/ 414 h 498"/>
              <a:gd name="T24" fmla="*/ 584 w 911"/>
              <a:gd name="T25" fmla="*/ 424 h 498"/>
              <a:gd name="T26" fmla="*/ 839 w 911"/>
              <a:gd name="T27" fmla="*/ 253 h 498"/>
              <a:gd name="T28" fmla="*/ 844 w 911"/>
              <a:gd name="T29" fmla="*/ 249 h 498"/>
              <a:gd name="T30" fmla="*/ 839 w 911"/>
              <a:gd name="T31" fmla="*/ 245 h 498"/>
              <a:gd name="T32" fmla="*/ 584 w 911"/>
              <a:gd name="T33" fmla="*/ 74 h 498"/>
              <a:gd name="T34" fmla="*/ 578 w 911"/>
              <a:gd name="T35" fmla="*/ 85 h 498"/>
              <a:gd name="T36" fmla="*/ 327 w 911"/>
              <a:gd name="T37" fmla="*/ 74 h 498"/>
              <a:gd name="T38" fmla="*/ 72 w 911"/>
              <a:gd name="T39" fmla="*/ 245 h 498"/>
              <a:gd name="T40" fmla="*/ 68 w 911"/>
              <a:gd name="T41" fmla="*/ 249 h 498"/>
              <a:gd name="T42" fmla="*/ 72 w 911"/>
              <a:gd name="T43" fmla="*/ 253 h 498"/>
              <a:gd name="T44" fmla="*/ 327 w 911"/>
              <a:gd name="T45" fmla="*/ 424 h 498"/>
              <a:gd name="T46" fmla="*/ 333 w 911"/>
              <a:gd name="T47" fmla="*/ 414 h 498"/>
              <a:gd name="T48" fmla="*/ 250 w 911"/>
              <a:gd name="T49" fmla="*/ 249 h 498"/>
              <a:gd name="T50" fmla="*/ 333 w 911"/>
              <a:gd name="T51" fmla="*/ 85 h 498"/>
              <a:gd name="T52" fmla="*/ 327 w 911"/>
              <a:gd name="T53" fmla="*/ 74 h 498"/>
              <a:gd name="T54" fmla="*/ 456 w 911"/>
              <a:gd name="T55" fmla="*/ 119 h 498"/>
              <a:gd name="T56" fmla="*/ 325 w 911"/>
              <a:gd name="T57" fmla="*/ 249 h 498"/>
              <a:gd name="T58" fmla="*/ 456 w 911"/>
              <a:gd name="T59" fmla="*/ 380 h 498"/>
              <a:gd name="T60" fmla="*/ 586 w 911"/>
              <a:gd name="T61" fmla="*/ 249 h 498"/>
              <a:gd name="T62" fmla="*/ 456 w 911"/>
              <a:gd name="T63" fmla="*/ 11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1" h="498">
                <a:moveTo>
                  <a:pt x="456" y="498"/>
                </a:moveTo>
                <a:cubicBezTo>
                  <a:pt x="213" y="498"/>
                  <a:pt x="22" y="275"/>
                  <a:pt x="14" y="266"/>
                </a:cubicBezTo>
                <a:cubicBezTo>
                  <a:pt x="0" y="249"/>
                  <a:pt x="0" y="249"/>
                  <a:pt x="0" y="249"/>
                </a:cubicBezTo>
                <a:cubicBezTo>
                  <a:pt x="14" y="233"/>
                  <a:pt x="14" y="233"/>
                  <a:pt x="14" y="233"/>
                </a:cubicBezTo>
                <a:cubicBezTo>
                  <a:pt x="22" y="223"/>
                  <a:pt x="214" y="0"/>
                  <a:pt x="456" y="0"/>
                </a:cubicBezTo>
                <a:cubicBezTo>
                  <a:pt x="698" y="0"/>
                  <a:pt x="889" y="223"/>
                  <a:pt x="897" y="233"/>
                </a:cubicBezTo>
                <a:cubicBezTo>
                  <a:pt x="911" y="249"/>
                  <a:pt x="911" y="249"/>
                  <a:pt x="911" y="249"/>
                </a:cubicBezTo>
                <a:cubicBezTo>
                  <a:pt x="897" y="266"/>
                  <a:pt x="897" y="266"/>
                  <a:pt x="897" y="266"/>
                </a:cubicBezTo>
                <a:cubicBezTo>
                  <a:pt x="889" y="275"/>
                  <a:pt x="698" y="498"/>
                  <a:pt x="456" y="498"/>
                </a:cubicBezTo>
                <a:close/>
                <a:moveTo>
                  <a:pt x="578" y="85"/>
                </a:moveTo>
                <a:cubicBezTo>
                  <a:pt x="631" y="124"/>
                  <a:pt x="661" y="184"/>
                  <a:pt x="661" y="249"/>
                </a:cubicBezTo>
                <a:cubicBezTo>
                  <a:pt x="661" y="314"/>
                  <a:pt x="631" y="374"/>
                  <a:pt x="578" y="414"/>
                </a:cubicBezTo>
                <a:cubicBezTo>
                  <a:pt x="584" y="424"/>
                  <a:pt x="584" y="424"/>
                  <a:pt x="584" y="424"/>
                </a:cubicBezTo>
                <a:cubicBezTo>
                  <a:pt x="706" y="382"/>
                  <a:pt x="803" y="291"/>
                  <a:pt x="839" y="253"/>
                </a:cubicBezTo>
                <a:cubicBezTo>
                  <a:pt x="844" y="249"/>
                  <a:pt x="844" y="249"/>
                  <a:pt x="844" y="249"/>
                </a:cubicBezTo>
                <a:cubicBezTo>
                  <a:pt x="839" y="245"/>
                  <a:pt x="839" y="245"/>
                  <a:pt x="839" y="245"/>
                </a:cubicBezTo>
                <a:cubicBezTo>
                  <a:pt x="803" y="208"/>
                  <a:pt x="706" y="117"/>
                  <a:pt x="584" y="74"/>
                </a:cubicBezTo>
                <a:lnTo>
                  <a:pt x="578" y="85"/>
                </a:lnTo>
                <a:close/>
                <a:moveTo>
                  <a:pt x="327" y="74"/>
                </a:moveTo>
                <a:cubicBezTo>
                  <a:pt x="206" y="117"/>
                  <a:pt x="108" y="208"/>
                  <a:pt x="72" y="245"/>
                </a:cubicBezTo>
                <a:cubicBezTo>
                  <a:pt x="68" y="249"/>
                  <a:pt x="68" y="249"/>
                  <a:pt x="68" y="249"/>
                </a:cubicBezTo>
                <a:cubicBezTo>
                  <a:pt x="72" y="253"/>
                  <a:pt x="72" y="253"/>
                  <a:pt x="72" y="253"/>
                </a:cubicBezTo>
                <a:cubicBezTo>
                  <a:pt x="108" y="291"/>
                  <a:pt x="206" y="382"/>
                  <a:pt x="327" y="424"/>
                </a:cubicBezTo>
                <a:cubicBezTo>
                  <a:pt x="333" y="414"/>
                  <a:pt x="333" y="414"/>
                  <a:pt x="333" y="414"/>
                </a:cubicBezTo>
                <a:cubicBezTo>
                  <a:pt x="280" y="374"/>
                  <a:pt x="250" y="314"/>
                  <a:pt x="250" y="249"/>
                </a:cubicBezTo>
                <a:cubicBezTo>
                  <a:pt x="250" y="184"/>
                  <a:pt x="280" y="124"/>
                  <a:pt x="333" y="85"/>
                </a:cubicBezTo>
                <a:lnTo>
                  <a:pt x="327" y="74"/>
                </a:lnTo>
                <a:close/>
                <a:moveTo>
                  <a:pt x="456" y="119"/>
                </a:moveTo>
                <a:cubicBezTo>
                  <a:pt x="384" y="119"/>
                  <a:pt x="325" y="177"/>
                  <a:pt x="325" y="249"/>
                </a:cubicBezTo>
                <a:cubicBezTo>
                  <a:pt x="325" y="321"/>
                  <a:pt x="384" y="380"/>
                  <a:pt x="456" y="380"/>
                </a:cubicBezTo>
                <a:cubicBezTo>
                  <a:pt x="528" y="380"/>
                  <a:pt x="586" y="321"/>
                  <a:pt x="586" y="249"/>
                </a:cubicBezTo>
                <a:cubicBezTo>
                  <a:pt x="586" y="177"/>
                  <a:pt x="528" y="119"/>
                  <a:pt x="456" y="1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nvGrpSpPr>
          <p:cNvPr id="7" name="组合 6"/>
          <p:cNvGrpSpPr/>
          <p:nvPr/>
        </p:nvGrpSpPr>
        <p:grpSpPr>
          <a:xfrm>
            <a:off x="884894" y="4610350"/>
            <a:ext cx="8711807" cy="857260"/>
            <a:chOff x="1768931" y="3638220"/>
            <a:chExt cx="9298705" cy="857260"/>
          </a:xfrm>
        </p:grpSpPr>
        <p:grpSp>
          <p:nvGrpSpPr>
            <p:cNvPr id="8" name="组合 7"/>
            <p:cNvGrpSpPr/>
            <p:nvPr/>
          </p:nvGrpSpPr>
          <p:grpSpPr>
            <a:xfrm>
              <a:off x="1768931" y="3638220"/>
              <a:ext cx="2213143" cy="857260"/>
              <a:chOff x="1732858" y="5001250"/>
              <a:chExt cx="2213143" cy="857260"/>
            </a:xfrm>
          </p:grpSpPr>
          <p:sp>
            <p:nvSpPr>
              <p:cNvPr id="18" name="文本框 35"/>
              <p:cNvSpPr txBox="1">
                <a:spLocks/>
              </p:cNvSpPr>
              <p:nvPr/>
            </p:nvSpPr>
            <p:spPr bwMode="auto">
              <a:xfrm>
                <a:off x="1732858" y="5001250"/>
                <a:ext cx="2213143" cy="283030"/>
              </a:xfrm>
              <a:prstGeom prst="rect">
                <a:avLst/>
              </a:prstGeom>
              <a:noFill/>
              <a:ln w="9525">
                <a:noFill/>
                <a:miter lim="800000"/>
                <a:headEnd/>
                <a:tailEnd/>
              </a:ln>
            </p:spPr>
            <p:txBody>
              <a:bodyPr wrap="none" lIns="0" tIns="0" rIns="0" bIns="0" anchor="ctr" anchorCtr="1">
                <a:normAutofit/>
                <a:scene3d>
                  <a:camera prst="orthographicFront"/>
                  <a:lightRig rig="threePt" dir="t"/>
                </a:scene3d>
                <a:sp3d>
                  <a:bevelT w="0" h="0"/>
                </a:sp3d>
              </a:bodyPr>
              <a:lstStyle/>
              <a:p>
                <a:pPr marL="0" lvl="1" algn="ctr"/>
                <a:r>
                  <a:rPr lang="zh-CN" altLang="en-US" sz="1400" b="1" dirty="0">
                    <a:solidFill>
                      <a:schemeClr val="bg1"/>
                    </a:solidFill>
                    <a:latin typeface="等线 Light" panose="02010600030101010101" pitchFamily="2" charset="-122"/>
                    <a:ea typeface="等线 Light" panose="02010600030101010101" pitchFamily="2" charset="-122"/>
                  </a:rPr>
                  <a:t>标题文本预设</a:t>
                </a:r>
              </a:p>
            </p:txBody>
          </p:sp>
          <p:sp>
            <p:nvSpPr>
              <p:cNvPr id="19" name="文本框 36"/>
              <p:cNvSpPr txBox="1">
                <a:spLocks/>
              </p:cNvSpPr>
              <p:nvPr/>
            </p:nvSpPr>
            <p:spPr bwMode="auto">
              <a:xfrm>
                <a:off x="1732858" y="5284280"/>
                <a:ext cx="2213143" cy="574230"/>
              </a:xfrm>
              <a:prstGeom prst="rect">
                <a:avLst/>
              </a:prstGeom>
              <a:noFill/>
              <a:ln w="9525">
                <a:noFill/>
                <a:miter lim="800000"/>
                <a:headEnd/>
                <a:tailEnd/>
              </a:ln>
            </p:spPr>
            <p:txBody>
              <a:bodyPr wrap="square" lIns="0" tIns="0" rIns="0" bIns="0" anchor="ctr" anchorCtr="1">
                <a:normAutofit/>
                <a:scene3d>
                  <a:camera prst="orthographicFront"/>
                  <a:lightRig rig="threePt" dir="t"/>
                </a:scene3d>
                <a:sp3d>
                  <a:bevelT w="0" h="0"/>
                </a:sp3d>
              </a:bodyPr>
              <a:lstStyle/>
              <a:p>
                <a:pPr algn="ctr">
                  <a:lnSpc>
                    <a:spcPct val="120000"/>
                  </a:lnSpc>
                  <a:defRPr/>
                </a:pPr>
                <a:r>
                  <a:rPr lang="zh-CN" altLang="en-US" sz="1000" dirty="0">
                    <a:latin typeface="微软雅黑" panose="020B0503020204020204" pitchFamily="34" charset="-122"/>
                    <a:ea typeface="微软雅黑" panose="020B0503020204020204" pitchFamily="34" charset="-122"/>
                  </a:rPr>
                  <a:t>此</a:t>
                </a:r>
                <a:r>
                  <a:rPr lang="zh-CN" altLang="en-US" sz="1000" dirty="0">
                    <a:solidFill>
                      <a:schemeClr val="bg1"/>
                    </a:solidFill>
                    <a:latin typeface="等线 Light" panose="02010600030101010101" pitchFamily="2" charset="-122"/>
                    <a:ea typeface="等线 Light" panose="02010600030101010101" pitchFamily="2" charset="-122"/>
                  </a:rPr>
                  <a:t>部分内容作为文字排版占位显示 </a:t>
                </a:r>
                <a:br>
                  <a:rPr lang="zh-CN" altLang="en-US" sz="1000" dirty="0">
                    <a:solidFill>
                      <a:schemeClr val="bg1"/>
                    </a:solidFill>
                    <a:latin typeface="等线 Light" panose="02010600030101010101" pitchFamily="2" charset="-122"/>
                    <a:ea typeface="等线 Light" panose="02010600030101010101" pitchFamily="2" charset="-122"/>
                  </a:rPr>
                </a:br>
                <a:r>
                  <a:rPr lang="zh-CN" altLang="en-US" sz="1000" dirty="0">
                    <a:solidFill>
                      <a:schemeClr val="bg1"/>
                    </a:solidFill>
                    <a:latin typeface="等线 Light" panose="02010600030101010101" pitchFamily="2" charset="-122"/>
                    <a:ea typeface="等线 Light" panose="02010600030101010101" pitchFamily="2" charset="-122"/>
                  </a:rPr>
                  <a:t>（建议使用主题字体）</a:t>
                </a:r>
              </a:p>
            </p:txBody>
          </p:sp>
        </p:grpSp>
        <p:grpSp>
          <p:nvGrpSpPr>
            <p:cNvPr id="9" name="组合 8"/>
            <p:cNvGrpSpPr/>
            <p:nvPr/>
          </p:nvGrpSpPr>
          <p:grpSpPr>
            <a:xfrm>
              <a:off x="4130785" y="3698740"/>
              <a:ext cx="2213143" cy="796740"/>
              <a:chOff x="1732858" y="5061770"/>
              <a:chExt cx="2213143" cy="796740"/>
            </a:xfrm>
          </p:grpSpPr>
          <p:sp>
            <p:nvSpPr>
              <p:cNvPr id="16" name="文本框 33"/>
              <p:cNvSpPr txBox="1">
                <a:spLocks/>
              </p:cNvSpPr>
              <p:nvPr/>
            </p:nvSpPr>
            <p:spPr bwMode="auto">
              <a:xfrm>
                <a:off x="1732858" y="5061770"/>
                <a:ext cx="2213143" cy="283030"/>
              </a:xfrm>
              <a:prstGeom prst="rect">
                <a:avLst/>
              </a:prstGeom>
              <a:noFill/>
              <a:ln w="9525">
                <a:noFill/>
                <a:miter lim="800000"/>
                <a:headEnd/>
                <a:tailEnd/>
              </a:ln>
            </p:spPr>
            <p:txBody>
              <a:bodyPr wrap="none" lIns="0" tIns="0" rIns="0" bIns="0" anchor="ctr" anchorCtr="1">
                <a:normAutofit fontScale="47500" lnSpcReduction="20000"/>
                <a:scene3d>
                  <a:camera prst="orthographicFront"/>
                  <a:lightRig rig="threePt" dir="t"/>
                </a:scene3d>
                <a:sp3d>
                  <a:bevelT w="0" h="0"/>
                </a:sp3d>
              </a:bodyPr>
              <a:lstStyle/>
              <a:p>
                <a:pPr marL="0" lvl="1" algn="ctr"/>
                <a:r>
                  <a:rPr lang="zh-CN" altLang="en-US" sz="2900" b="1" dirty="0">
                    <a:solidFill>
                      <a:schemeClr val="bg1"/>
                    </a:solidFill>
                    <a:latin typeface="等线 Light" panose="02010600030101010101" pitchFamily="2" charset="-122"/>
                    <a:ea typeface="等线 Light" panose="02010600030101010101" pitchFamily="2" charset="-122"/>
                  </a:rPr>
                  <a:t>标题文本预设</a:t>
                </a:r>
              </a:p>
              <a:p>
                <a:pPr marL="0" lvl="1" algn="ctr"/>
                <a:r>
                  <a:rPr lang="zh-CN" altLang="en-US" sz="1400" b="1" dirty="0">
                    <a:latin typeface="微软雅黑" panose="020B0503020204020204" pitchFamily="34" charset="-122"/>
                    <a:ea typeface="微软雅黑" panose="020B0503020204020204" pitchFamily="34" charset="-122"/>
                  </a:rPr>
                  <a:t>设</a:t>
                </a:r>
              </a:p>
            </p:txBody>
          </p:sp>
          <p:sp>
            <p:nvSpPr>
              <p:cNvPr id="17" name="文本框 34"/>
              <p:cNvSpPr txBox="1">
                <a:spLocks/>
              </p:cNvSpPr>
              <p:nvPr/>
            </p:nvSpPr>
            <p:spPr bwMode="auto">
              <a:xfrm>
                <a:off x="1732858" y="5284280"/>
                <a:ext cx="2213143" cy="574230"/>
              </a:xfrm>
              <a:prstGeom prst="rect">
                <a:avLst/>
              </a:prstGeom>
              <a:noFill/>
              <a:ln w="9525">
                <a:noFill/>
                <a:miter lim="800000"/>
                <a:headEnd/>
                <a:tailEnd/>
              </a:ln>
            </p:spPr>
            <p:txBody>
              <a:bodyPr wrap="square" lIns="0" tIns="0" rIns="0" bIns="0" anchor="ctr" anchorCtr="1">
                <a:normAutofit/>
                <a:scene3d>
                  <a:camera prst="orthographicFront"/>
                  <a:lightRig rig="threePt" dir="t"/>
                </a:scene3d>
                <a:sp3d>
                  <a:bevelT w="0" h="0"/>
                </a:sp3d>
              </a:bodyPr>
              <a:lstStyle/>
              <a:p>
                <a:pPr algn="ctr">
                  <a:lnSpc>
                    <a:spcPct val="120000"/>
                  </a:lnSpc>
                  <a:defRPr/>
                </a:pPr>
                <a:r>
                  <a:rPr lang="zh-CN" altLang="en-US" sz="1000" dirty="0">
                    <a:latin typeface="微软雅黑" panose="020B0503020204020204" pitchFamily="34" charset="-122"/>
                    <a:ea typeface="微软雅黑" panose="020B0503020204020204" pitchFamily="34" charset="-122"/>
                  </a:rPr>
                  <a:t>此</a:t>
                </a:r>
                <a:r>
                  <a:rPr lang="zh-CN" altLang="en-US" sz="1000" dirty="0">
                    <a:solidFill>
                      <a:schemeClr val="bg1"/>
                    </a:solidFill>
                    <a:latin typeface="方正粗倩简体"/>
                    <a:ea typeface="华文新魏" panose="02010800040101010101" pitchFamily="2" charset="-122"/>
                  </a:rPr>
                  <a:t>部分内容作为文字排版占位显示 </a:t>
                </a:r>
                <a:br>
                  <a:rPr lang="zh-CN" altLang="en-US" sz="1000" dirty="0">
                    <a:solidFill>
                      <a:schemeClr val="bg1"/>
                    </a:solidFill>
                    <a:latin typeface="方正粗倩简体"/>
                    <a:ea typeface="华文新魏" panose="02010800040101010101" pitchFamily="2" charset="-122"/>
                  </a:rPr>
                </a:br>
                <a:r>
                  <a:rPr lang="zh-CN" altLang="en-US" sz="1000" dirty="0">
                    <a:solidFill>
                      <a:schemeClr val="bg1"/>
                    </a:solidFill>
                    <a:latin typeface="方正粗倩简体"/>
                    <a:ea typeface="华文新魏" panose="02010800040101010101" pitchFamily="2" charset="-122"/>
                  </a:rPr>
                  <a:t>（建议使用主题字体）</a:t>
                </a:r>
              </a:p>
            </p:txBody>
          </p:sp>
        </p:grpSp>
        <p:grpSp>
          <p:nvGrpSpPr>
            <p:cNvPr id="10" name="组合 9"/>
            <p:cNvGrpSpPr/>
            <p:nvPr/>
          </p:nvGrpSpPr>
          <p:grpSpPr>
            <a:xfrm>
              <a:off x="6492639" y="3638220"/>
              <a:ext cx="2213143" cy="857260"/>
              <a:chOff x="1732858" y="5001250"/>
              <a:chExt cx="2213143" cy="857260"/>
            </a:xfrm>
          </p:grpSpPr>
          <p:sp>
            <p:nvSpPr>
              <p:cNvPr id="14" name="文本框 31"/>
              <p:cNvSpPr txBox="1">
                <a:spLocks/>
              </p:cNvSpPr>
              <p:nvPr/>
            </p:nvSpPr>
            <p:spPr bwMode="auto">
              <a:xfrm>
                <a:off x="1732858" y="5001250"/>
                <a:ext cx="2213143" cy="283030"/>
              </a:xfrm>
              <a:prstGeom prst="rect">
                <a:avLst/>
              </a:prstGeom>
              <a:noFill/>
              <a:ln w="9525">
                <a:noFill/>
                <a:miter lim="800000"/>
                <a:headEnd/>
                <a:tailEnd/>
              </a:ln>
            </p:spPr>
            <p:txBody>
              <a:bodyPr wrap="none" lIns="0" tIns="0" rIns="0" bIns="0" anchor="ctr" anchorCtr="1">
                <a:normAutofit/>
                <a:scene3d>
                  <a:camera prst="orthographicFront"/>
                  <a:lightRig rig="threePt" dir="t"/>
                </a:scene3d>
                <a:sp3d>
                  <a:bevelT w="0" h="0"/>
                </a:sp3d>
              </a:bodyPr>
              <a:lstStyle/>
              <a:p>
                <a:pPr marL="0" lvl="1" algn="ctr"/>
                <a:r>
                  <a:rPr lang="zh-CN" altLang="en-US" sz="1400" b="1" dirty="0">
                    <a:solidFill>
                      <a:schemeClr val="bg1"/>
                    </a:solidFill>
                    <a:latin typeface="等线 Light" panose="02010600030101010101" pitchFamily="2" charset="-122"/>
                    <a:ea typeface="等线 Light" panose="02010600030101010101" pitchFamily="2" charset="-122"/>
                  </a:rPr>
                  <a:t>标题文本预设</a:t>
                </a:r>
              </a:p>
            </p:txBody>
          </p:sp>
          <p:sp>
            <p:nvSpPr>
              <p:cNvPr id="15" name="文本框 32"/>
              <p:cNvSpPr txBox="1">
                <a:spLocks/>
              </p:cNvSpPr>
              <p:nvPr/>
            </p:nvSpPr>
            <p:spPr bwMode="auto">
              <a:xfrm>
                <a:off x="1732858" y="5284280"/>
                <a:ext cx="2213143" cy="574230"/>
              </a:xfrm>
              <a:prstGeom prst="rect">
                <a:avLst/>
              </a:prstGeom>
              <a:noFill/>
              <a:ln w="9525">
                <a:noFill/>
                <a:miter lim="800000"/>
                <a:headEnd/>
                <a:tailEnd/>
              </a:ln>
            </p:spPr>
            <p:txBody>
              <a:bodyPr wrap="square" lIns="0" tIns="0" rIns="0" bIns="0" anchor="ctr" anchorCtr="1">
                <a:normAutofit/>
                <a:scene3d>
                  <a:camera prst="orthographicFront"/>
                  <a:lightRig rig="threePt" dir="t"/>
                </a:scene3d>
                <a:sp3d>
                  <a:bevelT w="0" h="0"/>
                </a:sp3d>
              </a:bodyPr>
              <a:lstStyle/>
              <a:p>
                <a:pPr algn="ctr">
                  <a:lnSpc>
                    <a:spcPct val="120000"/>
                  </a:lnSpc>
                  <a:defRPr/>
                </a:pPr>
                <a:r>
                  <a:rPr lang="zh-CN" altLang="en-US" sz="1000" dirty="0">
                    <a:latin typeface="微软雅黑" panose="020B0503020204020204" pitchFamily="34" charset="-122"/>
                    <a:ea typeface="微软雅黑" panose="020B0503020204020204" pitchFamily="34" charset="-122"/>
                  </a:rPr>
                  <a:t>此</a:t>
                </a:r>
                <a:r>
                  <a:rPr lang="zh-CN" altLang="en-US" sz="1000" dirty="0">
                    <a:solidFill>
                      <a:schemeClr val="bg1"/>
                    </a:solidFill>
                    <a:latin typeface="等线 Light" panose="02010600030101010101" pitchFamily="2" charset="-122"/>
                    <a:ea typeface="等线 Light" panose="02010600030101010101" pitchFamily="2" charset="-122"/>
                  </a:rPr>
                  <a:t>部分内容作为文字排版占位显示 </a:t>
                </a:r>
                <a:br>
                  <a:rPr lang="zh-CN" altLang="en-US" sz="1000" dirty="0">
                    <a:solidFill>
                      <a:schemeClr val="bg1"/>
                    </a:solidFill>
                    <a:latin typeface="等线 Light" panose="02010600030101010101" pitchFamily="2" charset="-122"/>
                    <a:ea typeface="等线 Light" panose="02010600030101010101" pitchFamily="2" charset="-122"/>
                  </a:rPr>
                </a:br>
                <a:r>
                  <a:rPr lang="zh-CN" altLang="en-US" sz="1000" dirty="0">
                    <a:solidFill>
                      <a:schemeClr val="bg1"/>
                    </a:solidFill>
                    <a:latin typeface="等线 Light" panose="02010600030101010101" pitchFamily="2" charset="-122"/>
                    <a:ea typeface="等线 Light" panose="02010600030101010101" pitchFamily="2" charset="-122"/>
                  </a:rPr>
                  <a:t>（建议使用主题字体）</a:t>
                </a:r>
                <a:endParaRPr lang="zh-CN" altLang="en-US" sz="1000" dirty="0">
                  <a:latin typeface="等线 Light" panose="02010600030101010101" pitchFamily="2" charset="-122"/>
                  <a:ea typeface="等线 Light" panose="02010600030101010101" pitchFamily="2" charset="-122"/>
                </a:endParaRPr>
              </a:p>
            </p:txBody>
          </p:sp>
        </p:grpSp>
        <p:grpSp>
          <p:nvGrpSpPr>
            <p:cNvPr id="11" name="组合 10"/>
            <p:cNvGrpSpPr/>
            <p:nvPr/>
          </p:nvGrpSpPr>
          <p:grpSpPr>
            <a:xfrm>
              <a:off x="8854493" y="3638220"/>
              <a:ext cx="2213143" cy="857260"/>
              <a:chOff x="1732858" y="5001250"/>
              <a:chExt cx="2213143" cy="857260"/>
            </a:xfrm>
          </p:grpSpPr>
          <p:sp>
            <p:nvSpPr>
              <p:cNvPr id="12" name="文本框 29"/>
              <p:cNvSpPr txBox="1">
                <a:spLocks/>
              </p:cNvSpPr>
              <p:nvPr/>
            </p:nvSpPr>
            <p:spPr bwMode="auto">
              <a:xfrm>
                <a:off x="1732858" y="5001250"/>
                <a:ext cx="2213143" cy="283030"/>
              </a:xfrm>
              <a:prstGeom prst="rect">
                <a:avLst/>
              </a:prstGeom>
              <a:noFill/>
              <a:ln w="9525">
                <a:noFill/>
                <a:miter lim="800000"/>
                <a:headEnd/>
                <a:tailEnd/>
              </a:ln>
            </p:spPr>
            <p:txBody>
              <a:bodyPr wrap="none" lIns="0" tIns="0" rIns="0" bIns="0" anchor="ctr" anchorCtr="1">
                <a:normAutofit/>
                <a:scene3d>
                  <a:camera prst="orthographicFront"/>
                  <a:lightRig rig="threePt" dir="t"/>
                </a:scene3d>
                <a:sp3d>
                  <a:bevelT w="0" h="0"/>
                </a:sp3d>
              </a:bodyPr>
              <a:lstStyle/>
              <a:p>
                <a:pPr marL="0" lvl="1" algn="ctr"/>
                <a:r>
                  <a:rPr lang="zh-CN" altLang="en-US" sz="1400" b="1" dirty="0">
                    <a:solidFill>
                      <a:schemeClr val="bg1"/>
                    </a:solidFill>
                    <a:latin typeface="等线 Light" panose="02010600030101010101" pitchFamily="2" charset="-122"/>
                    <a:ea typeface="等线 Light" panose="02010600030101010101" pitchFamily="2" charset="-122"/>
                  </a:rPr>
                  <a:t>标题文本预设</a:t>
                </a:r>
              </a:p>
            </p:txBody>
          </p:sp>
          <p:sp>
            <p:nvSpPr>
              <p:cNvPr id="13" name="文本框 30"/>
              <p:cNvSpPr txBox="1">
                <a:spLocks/>
              </p:cNvSpPr>
              <p:nvPr/>
            </p:nvSpPr>
            <p:spPr bwMode="auto">
              <a:xfrm>
                <a:off x="1732858" y="5284280"/>
                <a:ext cx="2213143" cy="574230"/>
              </a:xfrm>
              <a:prstGeom prst="rect">
                <a:avLst/>
              </a:prstGeom>
              <a:noFill/>
              <a:ln w="9525">
                <a:noFill/>
                <a:miter lim="800000"/>
                <a:headEnd/>
                <a:tailEnd/>
              </a:ln>
            </p:spPr>
            <p:txBody>
              <a:bodyPr wrap="square" lIns="0" tIns="0" rIns="0" bIns="0" anchor="ctr" anchorCtr="1">
                <a:normAutofit/>
                <a:scene3d>
                  <a:camera prst="orthographicFront"/>
                  <a:lightRig rig="threePt" dir="t"/>
                </a:scene3d>
                <a:sp3d>
                  <a:bevelT w="0" h="0"/>
                </a:sp3d>
              </a:bodyPr>
              <a:lstStyle/>
              <a:p>
                <a:pPr algn="ctr">
                  <a:lnSpc>
                    <a:spcPct val="120000"/>
                  </a:lnSpc>
                  <a:defRPr/>
                </a:pPr>
                <a:r>
                  <a:rPr lang="zh-CN" altLang="en-US" sz="1000" dirty="0">
                    <a:latin typeface="微软雅黑" panose="020B0503020204020204" pitchFamily="34" charset="-122"/>
                    <a:ea typeface="微软雅黑" panose="020B0503020204020204" pitchFamily="34" charset="-122"/>
                  </a:rPr>
                  <a:t>此</a:t>
                </a:r>
                <a:r>
                  <a:rPr lang="zh-CN" altLang="en-US" sz="1000" dirty="0">
                    <a:solidFill>
                      <a:schemeClr val="bg1"/>
                    </a:solidFill>
                    <a:latin typeface="等线 Light" panose="02010600030101010101" pitchFamily="2" charset="-122"/>
                    <a:ea typeface="等线 Light" panose="02010600030101010101" pitchFamily="2" charset="-122"/>
                  </a:rPr>
                  <a:t>部分内容作为文字排版占位显示 </a:t>
                </a:r>
                <a:br>
                  <a:rPr lang="zh-CN" altLang="en-US" sz="1000" dirty="0">
                    <a:solidFill>
                      <a:schemeClr val="bg1"/>
                    </a:solidFill>
                    <a:latin typeface="等线 Light" panose="02010600030101010101" pitchFamily="2" charset="-122"/>
                    <a:ea typeface="等线 Light" panose="02010600030101010101" pitchFamily="2" charset="-122"/>
                  </a:rPr>
                </a:br>
                <a:r>
                  <a:rPr lang="zh-CN" altLang="en-US" sz="1000" dirty="0">
                    <a:solidFill>
                      <a:schemeClr val="bg1"/>
                    </a:solidFill>
                    <a:latin typeface="等线 Light" panose="02010600030101010101" pitchFamily="2" charset="-122"/>
                    <a:ea typeface="等线 Light" panose="02010600030101010101" pitchFamily="2" charset="-122"/>
                  </a:rPr>
                  <a:t>（建议使用主题字体）</a:t>
                </a:r>
                <a:endParaRPr lang="zh-CN" altLang="en-US" sz="1000" dirty="0">
                  <a:latin typeface="等线 Light" panose="02010600030101010101" pitchFamily="2" charset="-122"/>
                  <a:ea typeface="等线 Light" panose="02010600030101010101" pitchFamily="2" charset="-122"/>
                </a:endParaRPr>
              </a:p>
            </p:txBody>
          </p:sp>
        </p:grpSp>
      </p:grpSp>
      <p:sp>
        <p:nvSpPr>
          <p:cNvPr id="20" name="任意多边形: 形状 19"/>
          <p:cNvSpPr>
            <a:spLocks/>
          </p:cNvSpPr>
          <p:nvPr/>
        </p:nvSpPr>
        <p:spPr bwMode="auto">
          <a:xfrm>
            <a:off x="4291686" y="3389077"/>
            <a:ext cx="781003" cy="546335"/>
          </a:xfrm>
          <a:custGeom>
            <a:avLst/>
            <a:gdLst>
              <a:gd name="connsiteX0" fmla="*/ 303212 w 338138"/>
              <a:gd name="connsiteY0" fmla="*/ 103188 h 236538"/>
              <a:gd name="connsiteX1" fmla="*/ 303212 w 338138"/>
              <a:gd name="connsiteY1" fmla="*/ 122238 h 236538"/>
              <a:gd name="connsiteX2" fmla="*/ 306034 w 338138"/>
              <a:gd name="connsiteY2" fmla="*/ 122238 h 236538"/>
              <a:gd name="connsiteX3" fmla="*/ 315912 w 338138"/>
              <a:gd name="connsiteY3" fmla="*/ 112713 h 236538"/>
              <a:gd name="connsiteX4" fmla="*/ 306034 w 338138"/>
              <a:gd name="connsiteY4" fmla="*/ 103188 h 236538"/>
              <a:gd name="connsiteX5" fmla="*/ 303212 w 338138"/>
              <a:gd name="connsiteY5" fmla="*/ 103188 h 236538"/>
              <a:gd name="connsiteX6" fmla="*/ 65087 w 338138"/>
              <a:gd name="connsiteY6" fmla="*/ 90488 h 236538"/>
              <a:gd name="connsiteX7" fmla="*/ 61912 w 338138"/>
              <a:gd name="connsiteY7" fmla="*/ 96838 h 236538"/>
              <a:gd name="connsiteX8" fmla="*/ 68262 w 338138"/>
              <a:gd name="connsiteY8" fmla="*/ 96838 h 236538"/>
              <a:gd name="connsiteX9" fmla="*/ 90487 w 338138"/>
              <a:gd name="connsiteY9" fmla="*/ 87313 h 236538"/>
              <a:gd name="connsiteX10" fmla="*/ 90487 w 338138"/>
              <a:gd name="connsiteY10" fmla="*/ 107951 h 236538"/>
              <a:gd name="connsiteX11" fmla="*/ 98107 w 338138"/>
              <a:gd name="connsiteY11" fmla="*/ 107951 h 236538"/>
              <a:gd name="connsiteX12" fmla="*/ 109537 w 338138"/>
              <a:gd name="connsiteY12" fmla="*/ 97632 h 236538"/>
              <a:gd name="connsiteX13" fmla="*/ 98107 w 338138"/>
              <a:gd name="connsiteY13" fmla="*/ 87313 h 236538"/>
              <a:gd name="connsiteX14" fmla="*/ 90487 w 338138"/>
              <a:gd name="connsiteY14" fmla="*/ 87313 h 236538"/>
              <a:gd name="connsiteX15" fmla="*/ 86677 w 338138"/>
              <a:gd name="connsiteY15" fmla="*/ 79375 h 236538"/>
              <a:gd name="connsiteX16" fmla="*/ 98107 w 338138"/>
              <a:gd name="connsiteY16" fmla="*/ 79375 h 236538"/>
              <a:gd name="connsiteX17" fmla="*/ 115887 w 338138"/>
              <a:gd name="connsiteY17" fmla="*/ 97632 h 236538"/>
              <a:gd name="connsiteX18" fmla="*/ 98107 w 338138"/>
              <a:gd name="connsiteY18" fmla="*/ 115888 h 236538"/>
              <a:gd name="connsiteX19" fmla="*/ 86677 w 338138"/>
              <a:gd name="connsiteY19" fmla="*/ 115888 h 236538"/>
              <a:gd name="connsiteX20" fmla="*/ 84137 w 338138"/>
              <a:gd name="connsiteY20" fmla="*/ 113280 h 236538"/>
              <a:gd name="connsiteX21" fmla="*/ 84137 w 338138"/>
              <a:gd name="connsiteY21" fmla="*/ 81983 h 236538"/>
              <a:gd name="connsiteX22" fmla="*/ 86677 w 338138"/>
              <a:gd name="connsiteY22" fmla="*/ 79375 h 236538"/>
              <a:gd name="connsiteX23" fmla="*/ 63764 w 338138"/>
              <a:gd name="connsiteY23" fmla="*/ 79375 h 236538"/>
              <a:gd name="connsiteX24" fmla="*/ 66410 w 338138"/>
              <a:gd name="connsiteY24" fmla="*/ 79375 h 236538"/>
              <a:gd name="connsiteX25" fmla="*/ 69056 w 338138"/>
              <a:gd name="connsiteY25" fmla="*/ 80727 h 236538"/>
              <a:gd name="connsiteX26" fmla="*/ 80962 w 338138"/>
              <a:gd name="connsiteY26" fmla="*/ 113183 h 236538"/>
              <a:gd name="connsiteX27" fmla="*/ 78316 w 338138"/>
              <a:gd name="connsiteY27" fmla="*/ 115888 h 236538"/>
              <a:gd name="connsiteX28" fmla="*/ 75670 w 338138"/>
              <a:gd name="connsiteY28" fmla="*/ 115888 h 236538"/>
              <a:gd name="connsiteX29" fmla="*/ 74347 w 338138"/>
              <a:gd name="connsiteY29" fmla="*/ 114536 h 236538"/>
              <a:gd name="connsiteX30" fmla="*/ 70378 w 338138"/>
              <a:gd name="connsiteY30" fmla="*/ 105069 h 236538"/>
              <a:gd name="connsiteX31" fmla="*/ 59795 w 338138"/>
              <a:gd name="connsiteY31" fmla="*/ 105069 h 236538"/>
              <a:gd name="connsiteX32" fmla="*/ 55826 w 338138"/>
              <a:gd name="connsiteY32" fmla="*/ 114536 h 236538"/>
              <a:gd name="connsiteX33" fmla="*/ 54503 w 338138"/>
              <a:gd name="connsiteY33" fmla="*/ 115888 h 236538"/>
              <a:gd name="connsiteX34" fmla="*/ 51858 w 338138"/>
              <a:gd name="connsiteY34" fmla="*/ 115888 h 236538"/>
              <a:gd name="connsiteX35" fmla="*/ 49212 w 338138"/>
              <a:gd name="connsiteY35" fmla="*/ 114536 h 236538"/>
              <a:gd name="connsiteX36" fmla="*/ 49212 w 338138"/>
              <a:gd name="connsiteY36" fmla="*/ 113183 h 236538"/>
              <a:gd name="connsiteX37" fmla="*/ 61118 w 338138"/>
              <a:gd name="connsiteY37" fmla="*/ 80727 h 236538"/>
              <a:gd name="connsiteX38" fmla="*/ 63764 w 338138"/>
              <a:gd name="connsiteY38" fmla="*/ 79375 h 236538"/>
              <a:gd name="connsiteX39" fmla="*/ 19050 w 338138"/>
              <a:gd name="connsiteY39" fmla="*/ 63500 h 236538"/>
              <a:gd name="connsiteX40" fmla="*/ 19050 w 338138"/>
              <a:gd name="connsiteY40" fmla="*/ 132790 h 236538"/>
              <a:gd name="connsiteX41" fmla="*/ 120915 w 338138"/>
              <a:gd name="connsiteY41" fmla="*/ 132790 h 236538"/>
              <a:gd name="connsiteX42" fmla="*/ 124884 w 338138"/>
              <a:gd name="connsiteY42" fmla="*/ 134097 h 236538"/>
              <a:gd name="connsiteX43" fmla="*/ 161925 w 338138"/>
              <a:gd name="connsiteY43" fmla="*/ 152400 h 236538"/>
              <a:gd name="connsiteX44" fmla="*/ 152665 w 338138"/>
              <a:gd name="connsiteY44" fmla="*/ 123638 h 236538"/>
              <a:gd name="connsiteX45" fmla="*/ 152665 w 338138"/>
              <a:gd name="connsiteY45" fmla="*/ 121024 h 236538"/>
              <a:gd name="connsiteX46" fmla="*/ 152665 w 338138"/>
              <a:gd name="connsiteY46" fmla="*/ 63500 h 236538"/>
              <a:gd name="connsiteX47" fmla="*/ 19050 w 338138"/>
              <a:gd name="connsiteY47" fmla="*/ 63500 h 236538"/>
              <a:gd name="connsiteX48" fmla="*/ 52387 w 338138"/>
              <a:gd name="connsiteY48" fmla="*/ 17463 h 236538"/>
              <a:gd name="connsiteX49" fmla="*/ 52387 w 338138"/>
              <a:gd name="connsiteY49" fmla="*/ 43782 h 236538"/>
              <a:gd name="connsiteX50" fmla="*/ 161817 w 338138"/>
              <a:gd name="connsiteY50" fmla="*/ 43782 h 236538"/>
              <a:gd name="connsiteX51" fmla="*/ 169728 w 338138"/>
              <a:gd name="connsiteY51" fmla="*/ 52994 h 236538"/>
              <a:gd name="connsiteX52" fmla="*/ 169728 w 338138"/>
              <a:gd name="connsiteY52" fmla="*/ 118791 h 236538"/>
              <a:gd name="connsiteX53" fmla="*/ 186868 w 338138"/>
              <a:gd name="connsiteY53" fmla="*/ 167482 h 236538"/>
              <a:gd name="connsiteX54" fmla="*/ 184231 w 338138"/>
              <a:gd name="connsiteY54" fmla="*/ 176693 h 236538"/>
              <a:gd name="connsiteX55" fmla="*/ 177639 w 338138"/>
              <a:gd name="connsiteY55" fmla="*/ 179325 h 236538"/>
              <a:gd name="connsiteX56" fmla="*/ 173683 w 338138"/>
              <a:gd name="connsiteY56" fmla="*/ 178009 h 236538"/>
              <a:gd name="connsiteX57" fmla="*/ 119627 w 338138"/>
              <a:gd name="connsiteY57" fmla="*/ 150374 h 236538"/>
              <a:gd name="connsiteX58" fmla="*/ 52387 w 338138"/>
              <a:gd name="connsiteY58" fmla="*/ 150374 h 236538"/>
              <a:gd name="connsiteX59" fmla="*/ 52387 w 338138"/>
              <a:gd name="connsiteY59" fmla="*/ 217488 h 236538"/>
              <a:gd name="connsiteX60" fmla="*/ 285750 w 338138"/>
              <a:gd name="connsiteY60" fmla="*/ 217488 h 236538"/>
              <a:gd name="connsiteX61" fmla="*/ 285750 w 338138"/>
              <a:gd name="connsiteY61" fmla="*/ 17463 h 236538"/>
              <a:gd name="connsiteX62" fmla="*/ 52387 w 338138"/>
              <a:gd name="connsiteY62" fmla="*/ 17463 h 236538"/>
              <a:gd name="connsiteX63" fmla="*/ 42267 w 338138"/>
              <a:gd name="connsiteY63" fmla="*/ 0 h 236538"/>
              <a:gd name="connsiteX64" fmla="*/ 328892 w 338138"/>
              <a:gd name="connsiteY64" fmla="*/ 0 h 236538"/>
              <a:gd name="connsiteX65" fmla="*/ 338138 w 338138"/>
              <a:gd name="connsiteY65" fmla="*/ 9199 h 236538"/>
              <a:gd name="connsiteX66" fmla="*/ 338138 w 338138"/>
              <a:gd name="connsiteY66" fmla="*/ 227339 h 236538"/>
              <a:gd name="connsiteX67" fmla="*/ 328892 w 338138"/>
              <a:gd name="connsiteY67" fmla="*/ 236538 h 236538"/>
              <a:gd name="connsiteX68" fmla="*/ 42267 w 338138"/>
              <a:gd name="connsiteY68" fmla="*/ 236538 h 236538"/>
              <a:gd name="connsiteX69" fmla="*/ 33021 w 338138"/>
              <a:gd name="connsiteY69" fmla="*/ 227339 h 236538"/>
              <a:gd name="connsiteX70" fmla="*/ 33021 w 338138"/>
              <a:gd name="connsiteY70" fmla="*/ 151122 h 236538"/>
              <a:gd name="connsiteX71" fmla="*/ 9246 w 338138"/>
              <a:gd name="connsiteY71" fmla="*/ 151122 h 236538"/>
              <a:gd name="connsiteX72" fmla="*/ 0 w 338138"/>
              <a:gd name="connsiteY72" fmla="*/ 141923 h 236538"/>
              <a:gd name="connsiteX73" fmla="*/ 0 w 338138"/>
              <a:gd name="connsiteY73" fmla="*/ 53878 h 236538"/>
              <a:gd name="connsiteX74" fmla="*/ 9246 w 338138"/>
              <a:gd name="connsiteY74" fmla="*/ 44679 h 236538"/>
              <a:gd name="connsiteX75" fmla="*/ 33021 w 338138"/>
              <a:gd name="connsiteY75" fmla="*/ 44679 h 236538"/>
              <a:gd name="connsiteX76" fmla="*/ 33021 w 338138"/>
              <a:gd name="connsiteY76" fmla="*/ 9199 h 236538"/>
              <a:gd name="connsiteX77" fmla="*/ 42267 w 338138"/>
              <a:gd name="connsiteY77" fmla="*/ 0 h 236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38138" h="236538">
                <a:moveTo>
                  <a:pt x="303212" y="103188"/>
                </a:moveTo>
                <a:cubicBezTo>
                  <a:pt x="303212" y="103188"/>
                  <a:pt x="303212" y="103188"/>
                  <a:pt x="303212" y="122238"/>
                </a:cubicBezTo>
                <a:cubicBezTo>
                  <a:pt x="303212" y="122238"/>
                  <a:pt x="303212" y="122238"/>
                  <a:pt x="306034" y="122238"/>
                </a:cubicBezTo>
                <a:cubicBezTo>
                  <a:pt x="311679" y="122238"/>
                  <a:pt x="315912" y="116795"/>
                  <a:pt x="315912" y="112713"/>
                </a:cubicBezTo>
                <a:cubicBezTo>
                  <a:pt x="315912" y="107270"/>
                  <a:pt x="311679" y="103188"/>
                  <a:pt x="306034" y="103188"/>
                </a:cubicBezTo>
                <a:cubicBezTo>
                  <a:pt x="306034" y="103188"/>
                  <a:pt x="306034" y="103188"/>
                  <a:pt x="303212" y="103188"/>
                </a:cubicBezTo>
                <a:close/>
                <a:moveTo>
                  <a:pt x="65087" y="90488"/>
                </a:moveTo>
                <a:lnTo>
                  <a:pt x="61912" y="96838"/>
                </a:lnTo>
                <a:lnTo>
                  <a:pt x="68262" y="96838"/>
                </a:lnTo>
                <a:close/>
                <a:moveTo>
                  <a:pt x="90487" y="87313"/>
                </a:moveTo>
                <a:cubicBezTo>
                  <a:pt x="90487" y="87313"/>
                  <a:pt x="90487" y="87313"/>
                  <a:pt x="90487" y="107951"/>
                </a:cubicBezTo>
                <a:cubicBezTo>
                  <a:pt x="90487" y="107951"/>
                  <a:pt x="90487" y="107951"/>
                  <a:pt x="98107" y="107951"/>
                </a:cubicBezTo>
                <a:cubicBezTo>
                  <a:pt x="104457" y="107951"/>
                  <a:pt x="109537" y="104081"/>
                  <a:pt x="109537" y="97632"/>
                </a:cubicBezTo>
                <a:cubicBezTo>
                  <a:pt x="109537" y="92473"/>
                  <a:pt x="104457" y="87313"/>
                  <a:pt x="98107" y="87313"/>
                </a:cubicBezTo>
                <a:cubicBezTo>
                  <a:pt x="98107" y="87313"/>
                  <a:pt x="98107" y="87313"/>
                  <a:pt x="90487" y="87313"/>
                </a:cubicBezTo>
                <a:close/>
                <a:moveTo>
                  <a:pt x="86677" y="79375"/>
                </a:moveTo>
                <a:cubicBezTo>
                  <a:pt x="86677" y="79375"/>
                  <a:pt x="86677" y="79375"/>
                  <a:pt x="98107" y="79375"/>
                </a:cubicBezTo>
                <a:cubicBezTo>
                  <a:pt x="108267" y="79375"/>
                  <a:pt x="115887" y="88503"/>
                  <a:pt x="115887" y="97632"/>
                </a:cubicBezTo>
                <a:cubicBezTo>
                  <a:pt x="115887" y="108064"/>
                  <a:pt x="108267" y="115888"/>
                  <a:pt x="98107" y="115888"/>
                </a:cubicBezTo>
                <a:cubicBezTo>
                  <a:pt x="98107" y="115888"/>
                  <a:pt x="98107" y="115888"/>
                  <a:pt x="86677" y="115888"/>
                </a:cubicBezTo>
                <a:cubicBezTo>
                  <a:pt x="85407" y="115888"/>
                  <a:pt x="84137" y="114584"/>
                  <a:pt x="84137" y="113280"/>
                </a:cubicBezTo>
                <a:cubicBezTo>
                  <a:pt x="84137" y="113280"/>
                  <a:pt x="84137" y="113280"/>
                  <a:pt x="84137" y="81983"/>
                </a:cubicBezTo>
                <a:cubicBezTo>
                  <a:pt x="84137" y="80679"/>
                  <a:pt x="85407" y="79375"/>
                  <a:pt x="86677" y="79375"/>
                </a:cubicBezTo>
                <a:close/>
                <a:moveTo>
                  <a:pt x="63764" y="79375"/>
                </a:moveTo>
                <a:cubicBezTo>
                  <a:pt x="63764" y="79375"/>
                  <a:pt x="63764" y="79375"/>
                  <a:pt x="66410" y="79375"/>
                </a:cubicBezTo>
                <a:cubicBezTo>
                  <a:pt x="67733" y="79375"/>
                  <a:pt x="67733" y="79375"/>
                  <a:pt x="69056" y="80727"/>
                </a:cubicBezTo>
                <a:lnTo>
                  <a:pt x="80962" y="113183"/>
                </a:lnTo>
                <a:cubicBezTo>
                  <a:pt x="80962" y="114536"/>
                  <a:pt x="79639" y="115888"/>
                  <a:pt x="78316" y="115888"/>
                </a:cubicBezTo>
                <a:cubicBezTo>
                  <a:pt x="78316" y="115888"/>
                  <a:pt x="78316" y="115888"/>
                  <a:pt x="75670" y="115888"/>
                </a:cubicBezTo>
                <a:cubicBezTo>
                  <a:pt x="74347" y="115888"/>
                  <a:pt x="74347" y="114536"/>
                  <a:pt x="74347" y="114536"/>
                </a:cubicBezTo>
                <a:cubicBezTo>
                  <a:pt x="74347" y="114536"/>
                  <a:pt x="74347" y="114536"/>
                  <a:pt x="70378" y="105069"/>
                </a:cubicBezTo>
                <a:cubicBezTo>
                  <a:pt x="70378" y="105069"/>
                  <a:pt x="70378" y="105069"/>
                  <a:pt x="59795" y="105069"/>
                </a:cubicBezTo>
                <a:cubicBezTo>
                  <a:pt x="59795" y="105069"/>
                  <a:pt x="59795" y="105069"/>
                  <a:pt x="55826" y="114536"/>
                </a:cubicBezTo>
                <a:cubicBezTo>
                  <a:pt x="55826" y="114536"/>
                  <a:pt x="55826" y="115888"/>
                  <a:pt x="54503" y="115888"/>
                </a:cubicBezTo>
                <a:cubicBezTo>
                  <a:pt x="54503" y="115888"/>
                  <a:pt x="54503" y="115888"/>
                  <a:pt x="51858" y="115888"/>
                </a:cubicBezTo>
                <a:cubicBezTo>
                  <a:pt x="50535" y="115888"/>
                  <a:pt x="50535" y="115888"/>
                  <a:pt x="49212" y="114536"/>
                </a:cubicBezTo>
                <a:cubicBezTo>
                  <a:pt x="49212" y="114536"/>
                  <a:pt x="49212" y="113183"/>
                  <a:pt x="49212" y="113183"/>
                </a:cubicBezTo>
                <a:cubicBezTo>
                  <a:pt x="49212" y="113183"/>
                  <a:pt x="49212" y="113183"/>
                  <a:pt x="61118" y="80727"/>
                </a:cubicBezTo>
                <a:cubicBezTo>
                  <a:pt x="61118" y="79375"/>
                  <a:pt x="62441" y="79375"/>
                  <a:pt x="63764" y="79375"/>
                </a:cubicBezTo>
                <a:close/>
                <a:moveTo>
                  <a:pt x="19050" y="63500"/>
                </a:moveTo>
                <a:lnTo>
                  <a:pt x="19050" y="132790"/>
                </a:lnTo>
                <a:cubicBezTo>
                  <a:pt x="19050" y="132790"/>
                  <a:pt x="19050" y="132790"/>
                  <a:pt x="120915" y="132790"/>
                </a:cubicBezTo>
                <a:cubicBezTo>
                  <a:pt x="122238" y="132790"/>
                  <a:pt x="124884" y="132790"/>
                  <a:pt x="124884" y="134097"/>
                </a:cubicBezTo>
                <a:cubicBezTo>
                  <a:pt x="124884" y="134097"/>
                  <a:pt x="124884" y="134097"/>
                  <a:pt x="161925" y="152400"/>
                </a:cubicBezTo>
                <a:cubicBezTo>
                  <a:pt x="161925" y="152400"/>
                  <a:pt x="161925" y="152400"/>
                  <a:pt x="152665" y="123638"/>
                </a:cubicBezTo>
                <a:cubicBezTo>
                  <a:pt x="152665" y="123638"/>
                  <a:pt x="152665" y="122331"/>
                  <a:pt x="152665" y="121024"/>
                </a:cubicBezTo>
                <a:cubicBezTo>
                  <a:pt x="152665" y="121024"/>
                  <a:pt x="152665" y="121024"/>
                  <a:pt x="152665" y="63500"/>
                </a:cubicBezTo>
                <a:cubicBezTo>
                  <a:pt x="152665" y="63500"/>
                  <a:pt x="152665" y="63500"/>
                  <a:pt x="19050" y="63500"/>
                </a:cubicBezTo>
                <a:close/>
                <a:moveTo>
                  <a:pt x="52387" y="17463"/>
                </a:moveTo>
                <a:cubicBezTo>
                  <a:pt x="52387" y="17463"/>
                  <a:pt x="52387" y="17463"/>
                  <a:pt x="52387" y="43782"/>
                </a:cubicBezTo>
                <a:cubicBezTo>
                  <a:pt x="52387" y="43782"/>
                  <a:pt x="52387" y="43782"/>
                  <a:pt x="161817" y="43782"/>
                </a:cubicBezTo>
                <a:cubicBezTo>
                  <a:pt x="165773" y="43782"/>
                  <a:pt x="169728" y="49046"/>
                  <a:pt x="169728" y="52994"/>
                </a:cubicBezTo>
                <a:cubicBezTo>
                  <a:pt x="169728" y="52994"/>
                  <a:pt x="169728" y="52994"/>
                  <a:pt x="169728" y="118791"/>
                </a:cubicBezTo>
                <a:cubicBezTo>
                  <a:pt x="169728" y="118791"/>
                  <a:pt x="169728" y="118791"/>
                  <a:pt x="186868" y="167482"/>
                </a:cubicBezTo>
                <a:cubicBezTo>
                  <a:pt x="188186" y="171430"/>
                  <a:pt x="186868" y="174062"/>
                  <a:pt x="184231" y="176693"/>
                </a:cubicBezTo>
                <a:cubicBezTo>
                  <a:pt x="181594" y="178009"/>
                  <a:pt x="180275" y="179325"/>
                  <a:pt x="177639" y="179325"/>
                </a:cubicBezTo>
                <a:cubicBezTo>
                  <a:pt x="176320" y="179325"/>
                  <a:pt x="175002" y="179325"/>
                  <a:pt x="173683" y="178009"/>
                </a:cubicBezTo>
                <a:cubicBezTo>
                  <a:pt x="173683" y="178009"/>
                  <a:pt x="173683" y="178009"/>
                  <a:pt x="119627" y="150374"/>
                </a:cubicBezTo>
                <a:cubicBezTo>
                  <a:pt x="119627" y="150374"/>
                  <a:pt x="119627" y="150374"/>
                  <a:pt x="52387" y="150374"/>
                </a:cubicBezTo>
                <a:cubicBezTo>
                  <a:pt x="52387" y="150374"/>
                  <a:pt x="52387" y="150374"/>
                  <a:pt x="52387" y="217488"/>
                </a:cubicBezTo>
                <a:cubicBezTo>
                  <a:pt x="52387" y="217488"/>
                  <a:pt x="52387" y="217488"/>
                  <a:pt x="285750" y="217488"/>
                </a:cubicBezTo>
                <a:lnTo>
                  <a:pt x="285750" y="17463"/>
                </a:lnTo>
                <a:cubicBezTo>
                  <a:pt x="285750" y="17463"/>
                  <a:pt x="285750" y="17463"/>
                  <a:pt x="52387" y="17463"/>
                </a:cubicBezTo>
                <a:close/>
                <a:moveTo>
                  <a:pt x="42267" y="0"/>
                </a:moveTo>
                <a:cubicBezTo>
                  <a:pt x="42267" y="0"/>
                  <a:pt x="42267" y="0"/>
                  <a:pt x="328892" y="0"/>
                </a:cubicBezTo>
                <a:cubicBezTo>
                  <a:pt x="334176" y="0"/>
                  <a:pt x="338138" y="3942"/>
                  <a:pt x="338138" y="9199"/>
                </a:cubicBezTo>
                <a:cubicBezTo>
                  <a:pt x="338138" y="9199"/>
                  <a:pt x="338138" y="9199"/>
                  <a:pt x="338138" y="227339"/>
                </a:cubicBezTo>
                <a:cubicBezTo>
                  <a:pt x="338138" y="232596"/>
                  <a:pt x="334176" y="236538"/>
                  <a:pt x="328892" y="236538"/>
                </a:cubicBezTo>
                <a:cubicBezTo>
                  <a:pt x="328892" y="236538"/>
                  <a:pt x="328892" y="236538"/>
                  <a:pt x="42267" y="236538"/>
                </a:cubicBezTo>
                <a:cubicBezTo>
                  <a:pt x="36984" y="236538"/>
                  <a:pt x="33021" y="232596"/>
                  <a:pt x="33021" y="227339"/>
                </a:cubicBezTo>
                <a:cubicBezTo>
                  <a:pt x="33021" y="227339"/>
                  <a:pt x="33021" y="227339"/>
                  <a:pt x="33021" y="151122"/>
                </a:cubicBezTo>
                <a:cubicBezTo>
                  <a:pt x="33021" y="151122"/>
                  <a:pt x="33021" y="151122"/>
                  <a:pt x="9246" y="151122"/>
                </a:cubicBezTo>
                <a:cubicBezTo>
                  <a:pt x="3962" y="151122"/>
                  <a:pt x="0" y="147179"/>
                  <a:pt x="0" y="141923"/>
                </a:cubicBezTo>
                <a:cubicBezTo>
                  <a:pt x="0" y="141923"/>
                  <a:pt x="0" y="141923"/>
                  <a:pt x="0" y="53878"/>
                </a:cubicBezTo>
                <a:cubicBezTo>
                  <a:pt x="0" y="49936"/>
                  <a:pt x="3962" y="44679"/>
                  <a:pt x="9246" y="44679"/>
                </a:cubicBezTo>
                <a:cubicBezTo>
                  <a:pt x="9246" y="44679"/>
                  <a:pt x="9246" y="44679"/>
                  <a:pt x="33021" y="44679"/>
                </a:cubicBezTo>
                <a:cubicBezTo>
                  <a:pt x="33021" y="44679"/>
                  <a:pt x="33021" y="44679"/>
                  <a:pt x="33021" y="9199"/>
                </a:cubicBezTo>
                <a:cubicBezTo>
                  <a:pt x="33021" y="3942"/>
                  <a:pt x="36984" y="0"/>
                  <a:pt x="4226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任意多边形: 形状 20"/>
          <p:cNvSpPr>
            <a:spLocks/>
          </p:cNvSpPr>
          <p:nvPr/>
        </p:nvSpPr>
        <p:spPr bwMode="auto">
          <a:xfrm>
            <a:off x="6588495" y="3342731"/>
            <a:ext cx="513019" cy="639024"/>
          </a:xfrm>
          <a:custGeom>
            <a:avLst/>
            <a:gdLst>
              <a:gd name="connsiteX0" fmla="*/ 79065 w 271462"/>
              <a:gd name="connsiteY0" fmla="*/ 301625 h 338138"/>
              <a:gd name="connsiteX1" fmla="*/ 69850 w 271462"/>
              <a:gd name="connsiteY1" fmla="*/ 312632 h 338138"/>
              <a:gd name="connsiteX2" fmla="*/ 79065 w 271462"/>
              <a:gd name="connsiteY2" fmla="*/ 322263 h 338138"/>
              <a:gd name="connsiteX3" fmla="*/ 114610 w 271462"/>
              <a:gd name="connsiteY3" fmla="*/ 322263 h 338138"/>
              <a:gd name="connsiteX4" fmla="*/ 123825 w 271462"/>
              <a:gd name="connsiteY4" fmla="*/ 312632 h 338138"/>
              <a:gd name="connsiteX5" fmla="*/ 114610 w 271462"/>
              <a:gd name="connsiteY5" fmla="*/ 301625 h 338138"/>
              <a:gd name="connsiteX6" fmla="*/ 79065 w 271462"/>
              <a:gd name="connsiteY6" fmla="*/ 301625 h 338138"/>
              <a:gd name="connsiteX7" fmla="*/ 166687 w 271462"/>
              <a:gd name="connsiteY7" fmla="*/ 152400 h 338138"/>
              <a:gd name="connsiteX8" fmla="*/ 166687 w 271462"/>
              <a:gd name="connsiteY8" fmla="*/ 166688 h 338138"/>
              <a:gd name="connsiteX9" fmla="*/ 171450 w 271462"/>
              <a:gd name="connsiteY9" fmla="*/ 166688 h 338138"/>
              <a:gd name="connsiteX10" fmla="*/ 171450 w 271462"/>
              <a:gd name="connsiteY10" fmla="*/ 193676 h 338138"/>
              <a:gd name="connsiteX11" fmla="*/ 166687 w 271462"/>
              <a:gd name="connsiteY11" fmla="*/ 193676 h 338138"/>
              <a:gd name="connsiteX12" fmla="*/ 166687 w 271462"/>
              <a:gd name="connsiteY12" fmla="*/ 207963 h 338138"/>
              <a:gd name="connsiteX13" fmla="*/ 193675 w 271462"/>
              <a:gd name="connsiteY13" fmla="*/ 207963 h 338138"/>
              <a:gd name="connsiteX14" fmla="*/ 193675 w 271462"/>
              <a:gd name="connsiteY14" fmla="*/ 193676 h 338138"/>
              <a:gd name="connsiteX15" fmla="*/ 190500 w 271462"/>
              <a:gd name="connsiteY15" fmla="*/ 193676 h 338138"/>
              <a:gd name="connsiteX16" fmla="*/ 190500 w 271462"/>
              <a:gd name="connsiteY16" fmla="*/ 152400 h 338138"/>
              <a:gd name="connsiteX17" fmla="*/ 179388 w 271462"/>
              <a:gd name="connsiteY17" fmla="*/ 125413 h 338138"/>
              <a:gd name="connsiteX18" fmla="*/ 168275 w 271462"/>
              <a:gd name="connsiteY18" fmla="*/ 135732 h 338138"/>
              <a:gd name="connsiteX19" fmla="*/ 179388 w 271462"/>
              <a:gd name="connsiteY19" fmla="*/ 146051 h 338138"/>
              <a:gd name="connsiteX20" fmla="*/ 190501 w 271462"/>
              <a:gd name="connsiteY20" fmla="*/ 135732 h 338138"/>
              <a:gd name="connsiteX21" fmla="*/ 179388 w 271462"/>
              <a:gd name="connsiteY21" fmla="*/ 125413 h 338138"/>
              <a:gd name="connsiteX22" fmla="*/ 180975 w 271462"/>
              <a:gd name="connsiteY22" fmla="*/ 88900 h 338138"/>
              <a:gd name="connsiteX23" fmla="*/ 271462 w 271462"/>
              <a:gd name="connsiteY23" fmla="*/ 169069 h 338138"/>
              <a:gd name="connsiteX24" fmla="*/ 180975 w 271462"/>
              <a:gd name="connsiteY24" fmla="*/ 249238 h 338138"/>
              <a:gd name="connsiteX25" fmla="*/ 131141 w 271462"/>
              <a:gd name="connsiteY25" fmla="*/ 236096 h 338138"/>
              <a:gd name="connsiteX26" fmla="*/ 97044 w 271462"/>
              <a:gd name="connsiteY26" fmla="*/ 242667 h 338138"/>
              <a:gd name="connsiteX27" fmla="*/ 95732 w 271462"/>
              <a:gd name="connsiteY27" fmla="*/ 237410 h 338138"/>
              <a:gd name="connsiteX28" fmla="*/ 110158 w 271462"/>
              <a:gd name="connsiteY28" fmla="*/ 219011 h 338138"/>
              <a:gd name="connsiteX29" fmla="*/ 90487 w 271462"/>
              <a:gd name="connsiteY29" fmla="*/ 169069 h 338138"/>
              <a:gd name="connsiteX30" fmla="*/ 180975 w 271462"/>
              <a:gd name="connsiteY30" fmla="*/ 88900 h 338138"/>
              <a:gd name="connsiteX31" fmla="*/ 37042 w 271462"/>
              <a:gd name="connsiteY31" fmla="*/ 0 h 338138"/>
              <a:gd name="connsiteX32" fmla="*/ 162719 w 271462"/>
              <a:gd name="connsiteY32" fmla="*/ 0 h 338138"/>
              <a:gd name="connsiteX33" fmla="*/ 198438 w 271462"/>
              <a:gd name="connsiteY33" fmla="*/ 38304 h 338138"/>
              <a:gd name="connsiteX34" fmla="*/ 198438 w 271462"/>
              <a:gd name="connsiteY34" fmla="*/ 67363 h 338138"/>
              <a:gd name="connsiteX35" fmla="*/ 181240 w 271462"/>
              <a:gd name="connsiteY35" fmla="*/ 66042 h 338138"/>
              <a:gd name="connsiteX36" fmla="*/ 165365 w 271462"/>
              <a:gd name="connsiteY36" fmla="*/ 67363 h 338138"/>
              <a:gd name="connsiteX37" fmla="*/ 165365 w 271462"/>
              <a:gd name="connsiteY37" fmla="*/ 51513 h 338138"/>
              <a:gd name="connsiteX38" fmla="*/ 34396 w 271462"/>
              <a:gd name="connsiteY38" fmla="*/ 51513 h 338138"/>
              <a:gd name="connsiteX39" fmla="*/ 33073 w 271462"/>
              <a:gd name="connsiteY39" fmla="*/ 51513 h 338138"/>
              <a:gd name="connsiteX40" fmla="*/ 33073 w 271462"/>
              <a:gd name="connsiteY40" fmla="*/ 286625 h 338138"/>
              <a:gd name="connsiteX41" fmla="*/ 34396 w 271462"/>
              <a:gd name="connsiteY41" fmla="*/ 286625 h 338138"/>
              <a:gd name="connsiteX42" fmla="*/ 165365 w 271462"/>
              <a:gd name="connsiteY42" fmla="*/ 286625 h 338138"/>
              <a:gd name="connsiteX43" fmla="*/ 165365 w 271462"/>
              <a:gd name="connsiteY43" fmla="*/ 270775 h 338138"/>
              <a:gd name="connsiteX44" fmla="*/ 181240 w 271462"/>
              <a:gd name="connsiteY44" fmla="*/ 272096 h 338138"/>
              <a:gd name="connsiteX45" fmla="*/ 198438 w 271462"/>
              <a:gd name="connsiteY45" fmla="*/ 270775 h 338138"/>
              <a:gd name="connsiteX46" fmla="*/ 198438 w 271462"/>
              <a:gd name="connsiteY46" fmla="*/ 299834 h 338138"/>
              <a:gd name="connsiteX47" fmla="*/ 162719 w 271462"/>
              <a:gd name="connsiteY47" fmla="*/ 338138 h 338138"/>
              <a:gd name="connsiteX48" fmla="*/ 37042 w 271462"/>
              <a:gd name="connsiteY48" fmla="*/ 338138 h 338138"/>
              <a:gd name="connsiteX49" fmla="*/ 0 w 271462"/>
              <a:gd name="connsiteY49" fmla="*/ 299834 h 338138"/>
              <a:gd name="connsiteX50" fmla="*/ 0 w 271462"/>
              <a:gd name="connsiteY50" fmla="*/ 38304 h 338138"/>
              <a:gd name="connsiteX51" fmla="*/ 37042 w 271462"/>
              <a:gd name="connsiteY51" fmla="*/ 0 h 33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71462" h="338138">
                <a:moveTo>
                  <a:pt x="79065" y="301625"/>
                </a:moveTo>
                <a:cubicBezTo>
                  <a:pt x="73799" y="301625"/>
                  <a:pt x="69850" y="305753"/>
                  <a:pt x="69850" y="312632"/>
                </a:cubicBezTo>
                <a:cubicBezTo>
                  <a:pt x="69850" y="318136"/>
                  <a:pt x="73799" y="322263"/>
                  <a:pt x="79065" y="322263"/>
                </a:cubicBezTo>
                <a:cubicBezTo>
                  <a:pt x="79065" y="322263"/>
                  <a:pt x="79065" y="322263"/>
                  <a:pt x="114610" y="322263"/>
                </a:cubicBezTo>
                <a:cubicBezTo>
                  <a:pt x="119875" y="322263"/>
                  <a:pt x="123825" y="318136"/>
                  <a:pt x="123825" y="312632"/>
                </a:cubicBezTo>
                <a:cubicBezTo>
                  <a:pt x="123825" y="305753"/>
                  <a:pt x="119875" y="301625"/>
                  <a:pt x="114610" y="301625"/>
                </a:cubicBezTo>
                <a:cubicBezTo>
                  <a:pt x="114610" y="301625"/>
                  <a:pt x="114610" y="301625"/>
                  <a:pt x="79065" y="301625"/>
                </a:cubicBezTo>
                <a:close/>
                <a:moveTo>
                  <a:pt x="166687" y="152400"/>
                </a:moveTo>
                <a:lnTo>
                  <a:pt x="166687" y="166688"/>
                </a:lnTo>
                <a:lnTo>
                  <a:pt x="171450" y="166688"/>
                </a:lnTo>
                <a:lnTo>
                  <a:pt x="171450" y="193676"/>
                </a:lnTo>
                <a:lnTo>
                  <a:pt x="166687" y="193676"/>
                </a:lnTo>
                <a:lnTo>
                  <a:pt x="166687" y="207963"/>
                </a:lnTo>
                <a:lnTo>
                  <a:pt x="193675" y="207963"/>
                </a:lnTo>
                <a:lnTo>
                  <a:pt x="193675" y="193676"/>
                </a:lnTo>
                <a:lnTo>
                  <a:pt x="190500" y="193676"/>
                </a:lnTo>
                <a:lnTo>
                  <a:pt x="190500" y="152400"/>
                </a:lnTo>
                <a:close/>
                <a:moveTo>
                  <a:pt x="179388" y="125413"/>
                </a:moveTo>
                <a:cubicBezTo>
                  <a:pt x="173250" y="125413"/>
                  <a:pt x="168275" y="130033"/>
                  <a:pt x="168275" y="135732"/>
                </a:cubicBezTo>
                <a:cubicBezTo>
                  <a:pt x="168275" y="141431"/>
                  <a:pt x="173250" y="146051"/>
                  <a:pt x="179388" y="146051"/>
                </a:cubicBezTo>
                <a:cubicBezTo>
                  <a:pt x="185526" y="146051"/>
                  <a:pt x="190501" y="141431"/>
                  <a:pt x="190501" y="135732"/>
                </a:cubicBezTo>
                <a:cubicBezTo>
                  <a:pt x="190501" y="130033"/>
                  <a:pt x="185526" y="125413"/>
                  <a:pt x="179388" y="125413"/>
                </a:cubicBezTo>
                <a:close/>
                <a:moveTo>
                  <a:pt x="180975" y="88900"/>
                </a:moveTo>
                <a:cubicBezTo>
                  <a:pt x="230808" y="88900"/>
                  <a:pt x="271462" y="124384"/>
                  <a:pt x="271462" y="169069"/>
                </a:cubicBezTo>
                <a:cubicBezTo>
                  <a:pt x="271462" y="212439"/>
                  <a:pt x="230808" y="249238"/>
                  <a:pt x="180975" y="249238"/>
                </a:cubicBezTo>
                <a:cubicBezTo>
                  <a:pt x="162614" y="249238"/>
                  <a:pt x="145566" y="243981"/>
                  <a:pt x="131141" y="236096"/>
                </a:cubicBezTo>
                <a:cubicBezTo>
                  <a:pt x="119338" y="243981"/>
                  <a:pt x="104912" y="242667"/>
                  <a:pt x="97044" y="242667"/>
                </a:cubicBezTo>
                <a:cubicBezTo>
                  <a:pt x="94421" y="241353"/>
                  <a:pt x="94421" y="238724"/>
                  <a:pt x="95732" y="237410"/>
                </a:cubicBezTo>
                <a:cubicBezTo>
                  <a:pt x="103601" y="232153"/>
                  <a:pt x="107535" y="225582"/>
                  <a:pt x="110158" y="219011"/>
                </a:cubicBezTo>
                <a:cubicBezTo>
                  <a:pt x="97044" y="205868"/>
                  <a:pt x="90487" y="187469"/>
                  <a:pt x="90487" y="169069"/>
                </a:cubicBezTo>
                <a:cubicBezTo>
                  <a:pt x="90487" y="124384"/>
                  <a:pt x="131141" y="88900"/>
                  <a:pt x="180975" y="88900"/>
                </a:cubicBezTo>
                <a:close/>
                <a:moveTo>
                  <a:pt x="37042" y="0"/>
                </a:moveTo>
                <a:cubicBezTo>
                  <a:pt x="37042" y="0"/>
                  <a:pt x="37042" y="0"/>
                  <a:pt x="162719" y="0"/>
                </a:cubicBezTo>
                <a:cubicBezTo>
                  <a:pt x="182563" y="0"/>
                  <a:pt x="198438" y="17171"/>
                  <a:pt x="198438" y="38304"/>
                </a:cubicBezTo>
                <a:cubicBezTo>
                  <a:pt x="198438" y="38304"/>
                  <a:pt x="198438" y="38304"/>
                  <a:pt x="198438" y="67363"/>
                </a:cubicBezTo>
                <a:cubicBezTo>
                  <a:pt x="193147" y="67363"/>
                  <a:pt x="186532" y="66042"/>
                  <a:pt x="181240" y="66042"/>
                </a:cubicBezTo>
                <a:cubicBezTo>
                  <a:pt x="175949" y="66042"/>
                  <a:pt x="170657" y="67363"/>
                  <a:pt x="165365" y="67363"/>
                </a:cubicBezTo>
                <a:cubicBezTo>
                  <a:pt x="165365" y="67363"/>
                  <a:pt x="165365" y="67363"/>
                  <a:pt x="165365" y="51513"/>
                </a:cubicBezTo>
                <a:cubicBezTo>
                  <a:pt x="165365" y="51513"/>
                  <a:pt x="165365" y="51513"/>
                  <a:pt x="34396" y="51513"/>
                </a:cubicBezTo>
                <a:cubicBezTo>
                  <a:pt x="34396" y="51513"/>
                  <a:pt x="33073" y="51513"/>
                  <a:pt x="33073" y="51513"/>
                </a:cubicBezTo>
                <a:cubicBezTo>
                  <a:pt x="33073" y="51513"/>
                  <a:pt x="33073" y="51513"/>
                  <a:pt x="33073" y="286625"/>
                </a:cubicBezTo>
                <a:cubicBezTo>
                  <a:pt x="33073" y="286625"/>
                  <a:pt x="34396" y="286625"/>
                  <a:pt x="34396" y="286625"/>
                </a:cubicBezTo>
                <a:cubicBezTo>
                  <a:pt x="34396" y="286625"/>
                  <a:pt x="34396" y="286625"/>
                  <a:pt x="165365" y="286625"/>
                </a:cubicBezTo>
                <a:cubicBezTo>
                  <a:pt x="165365" y="286625"/>
                  <a:pt x="165365" y="286625"/>
                  <a:pt x="165365" y="270775"/>
                </a:cubicBezTo>
                <a:cubicBezTo>
                  <a:pt x="170657" y="270775"/>
                  <a:pt x="175949" y="272096"/>
                  <a:pt x="181240" y="272096"/>
                </a:cubicBezTo>
                <a:cubicBezTo>
                  <a:pt x="186532" y="272096"/>
                  <a:pt x="193147" y="270775"/>
                  <a:pt x="198438" y="270775"/>
                </a:cubicBezTo>
                <a:cubicBezTo>
                  <a:pt x="198438" y="270775"/>
                  <a:pt x="198438" y="270775"/>
                  <a:pt x="198438" y="299834"/>
                </a:cubicBezTo>
                <a:cubicBezTo>
                  <a:pt x="198438" y="320967"/>
                  <a:pt x="182563" y="338138"/>
                  <a:pt x="162719" y="338138"/>
                </a:cubicBezTo>
                <a:cubicBezTo>
                  <a:pt x="162719" y="338138"/>
                  <a:pt x="162719" y="338138"/>
                  <a:pt x="37042" y="338138"/>
                </a:cubicBezTo>
                <a:cubicBezTo>
                  <a:pt x="17198" y="338138"/>
                  <a:pt x="0" y="320967"/>
                  <a:pt x="0" y="299834"/>
                </a:cubicBezTo>
                <a:cubicBezTo>
                  <a:pt x="0" y="299834"/>
                  <a:pt x="0" y="299834"/>
                  <a:pt x="0" y="38304"/>
                </a:cubicBezTo>
                <a:cubicBezTo>
                  <a:pt x="0" y="17171"/>
                  <a:pt x="17198" y="0"/>
                  <a:pt x="3704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任意多边形: 形状 21"/>
          <p:cNvSpPr>
            <a:spLocks/>
          </p:cNvSpPr>
          <p:nvPr/>
        </p:nvSpPr>
        <p:spPr bwMode="auto">
          <a:xfrm>
            <a:off x="8738399" y="3350233"/>
            <a:ext cx="639024" cy="624023"/>
          </a:xfrm>
          <a:custGeom>
            <a:avLst/>
            <a:gdLst>
              <a:gd name="connsiteX0" fmla="*/ 279401 w 338138"/>
              <a:gd name="connsiteY0" fmla="*/ 293687 h 330200"/>
              <a:gd name="connsiteX1" fmla="*/ 274109 w 338138"/>
              <a:gd name="connsiteY1" fmla="*/ 296374 h 330200"/>
              <a:gd name="connsiteX2" fmla="*/ 271463 w 338138"/>
              <a:gd name="connsiteY2" fmla="*/ 303090 h 330200"/>
              <a:gd name="connsiteX3" fmla="*/ 274109 w 338138"/>
              <a:gd name="connsiteY3" fmla="*/ 308464 h 330200"/>
              <a:gd name="connsiteX4" fmla="*/ 279401 w 338138"/>
              <a:gd name="connsiteY4" fmla="*/ 311150 h 330200"/>
              <a:gd name="connsiteX5" fmla="*/ 286015 w 338138"/>
              <a:gd name="connsiteY5" fmla="*/ 308464 h 330200"/>
              <a:gd name="connsiteX6" fmla="*/ 287338 w 338138"/>
              <a:gd name="connsiteY6" fmla="*/ 303090 h 330200"/>
              <a:gd name="connsiteX7" fmla="*/ 286015 w 338138"/>
              <a:gd name="connsiteY7" fmla="*/ 296374 h 330200"/>
              <a:gd name="connsiteX8" fmla="*/ 279401 w 338138"/>
              <a:gd name="connsiteY8" fmla="*/ 293687 h 330200"/>
              <a:gd name="connsiteX9" fmla="*/ 222250 w 338138"/>
              <a:gd name="connsiteY9" fmla="*/ 282575 h 330200"/>
              <a:gd name="connsiteX10" fmla="*/ 223567 w 338138"/>
              <a:gd name="connsiteY10" fmla="*/ 282575 h 330200"/>
              <a:gd name="connsiteX11" fmla="*/ 338138 w 338138"/>
              <a:gd name="connsiteY11" fmla="*/ 282575 h 330200"/>
              <a:gd name="connsiteX12" fmla="*/ 338138 w 338138"/>
              <a:gd name="connsiteY12" fmla="*/ 298450 h 330200"/>
              <a:gd name="connsiteX13" fmla="*/ 305215 w 338138"/>
              <a:gd name="connsiteY13" fmla="*/ 330200 h 330200"/>
              <a:gd name="connsiteX14" fmla="*/ 255173 w 338138"/>
              <a:gd name="connsiteY14" fmla="*/ 330200 h 330200"/>
              <a:gd name="connsiteX15" fmla="*/ 222250 w 338138"/>
              <a:gd name="connsiteY15" fmla="*/ 298450 h 330200"/>
              <a:gd name="connsiteX16" fmla="*/ 222250 w 338138"/>
              <a:gd name="connsiteY16" fmla="*/ 282575 h 330200"/>
              <a:gd name="connsiteX17" fmla="*/ 55563 w 338138"/>
              <a:gd name="connsiteY17" fmla="*/ 274637 h 330200"/>
              <a:gd name="connsiteX18" fmla="*/ 149226 w 338138"/>
              <a:gd name="connsiteY18" fmla="*/ 274637 h 330200"/>
              <a:gd name="connsiteX19" fmla="*/ 103054 w 338138"/>
              <a:gd name="connsiteY19" fmla="*/ 312737 h 330200"/>
              <a:gd name="connsiteX20" fmla="*/ 55563 w 338138"/>
              <a:gd name="connsiteY20" fmla="*/ 274637 h 330200"/>
              <a:gd name="connsiteX21" fmla="*/ 168911 w 338138"/>
              <a:gd name="connsiteY21" fmla="*/ 244475 h 330200"/>
              <a:gd name="connsiteX22" fmla="*/ 205459 w 338138"/>
              <a:gd name="connsiteY22" fmla="*/ 244475 h 330200"/>
              <a:gd name="connsiteX23" fmla="*/ 215901 w 338138"/>
              <a:gd name="connsiteY23" fmla="*/ 256381 h 330200"/>
              <a:gd name="connsiteX24" fmla="*/ 205459 w 338138"/>
              <a:gd name="connsiteY24" fmla="*/ 268288 h 330200"/>
              <a:gd name="connsiteX25" fmla="*/ 168911 w 338138"/>
              <a:gd name="connsiteY25" fmla="*/ 268288 h 330200"/>
              <a:gd name="connsiteX26" fmla="*/ 157163 w 338138"/>
              <a:gd name="connsiteY26" fmla="*/ 256381 h 330200"/>
              <a:gd name="connsiteX27" fmla="*/ 168911 w 338138"/>
              <a:gd name="connsiteY27" fmla="*/ 244475 h 330200"/>
              <a:gd name="connsiteX28" fmla="*/ 53975 w 338138"/>
              <a:gd name="connsiteY28" fmla="*/ 236537 h 330200"/>
              <a:gd name="connsiteX29" fmla="*/ 150813 w 338138"/>
              <a:gd name="connsiteY29" fmla="*/ 236537 h 330200"/>
              <a:gd name="connsiteX30" fmla="*/ 150813 w 338138"/>
              <a:gd name="connsiteY30" fmla="*/ 258762 h 330200"/>
              <a:gd name="connsiteX31" fmla="*/ 53975 w 338138"/>
              <a:gd name="connsiteY31" fmla="*/ 258762 h 330200"/>
              <a:gd name="connsiteX32" fmla="*/ 255173 w 338138"/>
              <a:gd name="connsiteY32" fmla="*/ 150812 h 330200"/>
              <a:gd name="connsiteX33" fmla="*/ 305215 w 338138"/>
              <a:gd name="connsiteY33" fmla="*/ 150812 h 330200"/>
              <a:gd name="connsiteX34" fmla="*/ 338138 w 338138"/>
              <a:gd name="connsiteY34" fmla="*/ 182063 h 330200"/>
              <a:gd name="connsiteX35" fmla="*/ 338138 w 338138"/>
              <a:gd name="connsiteY35" fmla="*/ 266700 h 330200"/>
              <a:gd name="connsiteX36" fmla="*/ 223567 w 338138"/>
              <a:gd name="connsiteY36" fmla="*/ 266700 h 330200"/>
              <a:gd name="connsiteX37" fmla="*/ 222250 w 338138"/>
              <a:gd name="connsiteY37" fmla="*/ 266700 h 330200"/>
              <a:gd name="connsiteX38" fmla="*/ 222250 w 338138"/>
              <a:gd name="connsiteY38" fmla="*/ 182063 h 330200"/>
              <a:gd name="connsiteX39" fmla="*/ 255173 w 338138"/>
              <a:gd name="connsiteY39" fmla="*/ 150812 h 330200"/>
              <a:gd name="connsiteX40" fmla="*/ 85111 w 338138"/>
              <a:gd name="connsiteY40" fmla="*/ 128587 h 330200"/>
              <a:gd name="connsiteX41" fmla="*/ 97913 w 338138"/>
              <a:gd name="connsiteY41" fmla="*/ 135164 h 330200"/>
              <a:gd name="connsiteX42" fmla="*/ 106875 w 338138"/>
              <a:gd name="connsiteY42" fmla="*/ 135164 h 330200"/>
              <a:gd name="connsiteX43" fmla="*/ 119678 w 338138"/>
              <a:gd name="connsiteY43" fmla="*/ 128587 h 330200"/>
              <a:gd name="connsiteX44" fmla="*/ 122238 w 338138"/>
              <a:gd name="connsiteY44" fmla="*/ 129902 h 330200"/>
              <a:gd name="connsiteX45" fmla="*/ 109435 w 338138"/>
              <a:gd name="connsiteY45" fmla="*/ 220662 h 330200"/>
              <a:gd name="connsiteX46" fmla="*/ 95353 w 338138"/>
              <a:gd name="connsiteY46" fmla="*/ 220662 h 330200"/>
              <a:gd name="connsiteX47" fmla="*/ 82550 w 338138"/>
              <a:gd name="connsiteY47" fmla="*/ 129902 h 330200"/>
              <a:gd name="connsiteX48" fmla="*/ 85111 w 338138"/>
              <a:gd name="connsiteY48" fmla="*/ 128587 h 330200"/>
              <a:gd name="connsiteX49" fmla="*/ 224631 w 338138"/>
              <a:gd name="connsiteY49" fmla="*/ 60325 h 330200"/>
              <a:gd name="connsiteX50" fmla="*/ 280194 w 338138"/>
              <a:gd name="connsiteY50" fmla="*/ 60325 h 330200"/>
              <a:gd name="connsiteX51" fmla="*/ 292100 w 338138"/>
              <a:gd name="connsiteY51" fmla="*/ 70872 h 330200"/>
              <a:gd name="connsiteX52" fmla="*/ 292100 w 338138"/>
              <a:gd name="connsiteY52" fmla="*/ 127565 h 330200"/>
              <a:gd name="connsiteX53" fmla="*/ 280194 w 338138"/>
              <a:gd name="connsiteY53" fmla="*/ 138113 h 330200"/>
              <a:gd name="connsiteX54" fmla="*/ 269610 w 338138"/>
              <a:gd name="connsiteY54" fmla="*/ 127565 h 330200"/>
              <a:gd name="connsiteX55" fmla="*/ 269610 w 338138"/>
              <a:gd name="connsiteY55" fmla="*/ 82738 h 330200"/>
              <a:gd name="connsiteX56" fmla="*/ 224631 w 338138"/>
              <a:gd name="connsiteY56" fmla="*/ 82738 h 330200"/>
              <a:gd name="connsiteX57" fmla="*/ 212725 w 338138"/>
              <a:gd name="connsiteY57" fmla="*/ 70872 h 330200"/>
              <a:gd name="connsiteX58" fmla="*/ 224631 w 338138"/>
              <a:gd name="connsiteY58" fmla="*/ 60325 h 330200"/>
              <a:gd name="connsiteX59" fmla="*/ 103055 w 338138"/>
              <a:gd name="connsiteY59" fmla="*/ 0 h 330200"/>
              <a:gd name="connsiteX60" fmla="*/ 204788 w 338138"/>
              <a:gd name="connsiteY60" fmla="*/ 101137 h 330200"/>
              <a:gd name="connsiteX61" fmla="*/ 161188 w 338138"/>
              <a:gd name="connsiteY61" fmla="*/ 185199 h 330200"/>
              <a:gd name="connsiteX62" fmla="*/ 151940 w 338138"/>
              <a:gd name="connsiteY62" fmla="*/ 220663 h 330200"/>
              <a:gd name="connsiteX63" fmla="*/ 125515 w 338138"/>
              <a:gd name="connsiteY63" fmla="*/ 220663 h 330200"/>
              <a:gd name="connsiteX64" fmla="*/ 137406 w 338138"/>
              <a:gd name="connsiteY64" fmla="*/ 136601 h 330200"/>
              <a:gd name="connsiteX65" fmla="*/ 138727 w 338138"/>
              <a:gd name="connsiteY65" fmla="*/ 136601 h 330200"/>
              <a:gd name="connsiteX66" fmla="*/ 149297 w 338138"/>
              <a:gd name="connsiteY66" fmla="*/ 130033 h 330200"/>
              <a:gd name="connsiteX67" fmla="*/ 144012 w 338138"/>
              <a:gd name="connsiteY67" fmla="*/ 115585 h 330200"/>
              <a:gd name="connsiteX68" fmla="*/ 125515 w 338138"/>
              <a:gd name="connsiteY68" fmla="*/ 106391 h 330200"/>
              <a:gd name="connsiteX69" fmla="*/ 116267 w 338138"/>
              <a:gd name="connsiteY69" fmla="*/ 106391 h 330200"/>
              <a:gd name="connsiteX70" fmla="*/ 103055 w 338138"/>
              <a:gd name="connsiteY70" fmla="*/ 112958 h 330200"/>
              <a:gd name="connsiteX71" fmla="*/ 88521 w 338138"/>
              <a:gd name="connsiteY71" fmla="*/ 106391 h 330200"/>
              <a:gd name="connsiteX72" fmla="*/ 79273 w 338138"/>
              <a:gd name="connsiteY72" fmla="*/ 106391 h 330200"/>
              <a:gd name="connsiteX73" fmla="*/ 60776 w 338138"/>
              <a:gd name="connsiteY73" fmla="*/ 115585 h 330200"/>
              <a:gd name="connsiteX74" fmla="*/ 55491 w 338138"/>
              <a:gd name="connsiteY74" fmla="*/ 130033 h 330200"/>
              <a:gd name="connsiteX75" fmla="*/ 67382 w 338138"/>
              <a:gd name="connsiteY75" fmla="*/ 136601 h 330200"/>
              <a:gd name="connsiteX76" fmla="*/ 79273 w 338138"/>
              <a:gd name="connsiteY76" fmla="*/ 220663 h 330200"/>
              <a:gd name="connsiteX77" fmla="*/ 52848 w 338138"/>
              <a:gd name="connsiteY77" fmla="*/ 220663 h 330200"/>
              <a:gd name="connsiteX78" fmla="*/ 43600 w 338138"/>
              <a:gd name="connsiteY78" fmla="*/ 185199 h 330200"/>
              <a:gd name="connsiteX79" fmla="*/ 0 w 338138"/>
              <a:gd name="connsiteY79" fmla="*/ 101137 h 330200"/>
              <a:gd name="connsiteX80" fmla="*/ 103055 w 338138"/>
              <a:gd name="connsiteY80"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8138" h="330200">
                <a:moveTo>
                  <a:pt x="279401" y="293687"/>
                </a:moveTo>
                <a:cubicBezTo>
                  <a:pt x="276755" y="293687"/>
                  <a:pt x="275432" y="295030"/>
                  <a:pt x="274109" y="296374"/>
                </a:cubicBezTo>
                <a:cubicBezTo>
                  <a:pt x="271463" y="297717"/>
                  <a:pt x="271463" y="300404"/>
                  <a:pt x="271463" y="303090"/>
                </a:cubicBezTo>
                <a:cubicBezTo>
                  <a:pt x="271463" y="304434"/>
                  <a:pt x="271463" y="307120"/>
                  <a:pt x="274109" y="308464"/>
                </a:cubicBezTo>
                <a:cubicBezTo>
                  <a:pt x="275432" y="309807"/>
                  <a:pt x="276755" y="311150"/>
                  <a:pt x="279401" y="311150"/>
                </a:cubicBezTo>
                <a:cubicBezTo>
                  <a:pt x="282046" y="311150"/>
                  <a:pt x="283369" y="309807"/>
                  <a:pt x="286015" y="308464"/>
                </a:cubicBezTo>
                <a:cubicBezTo>
                  <a:pt x="287338" y="307120"/>
                  <a:pt x="287338" y="304434"/>
                  <a:pt x="287338" y="303090"/>
                </a:cubicBezTo>
                <a:cubicBezTo>
                  <a:pt x="287338" y="300404"/>
                  <a:pt x="287338" y="297717"/>
                  <a:pt x="286015" y="296374"/>
                </a:cubicBezTo>
                <a:cubicBezTo>
                  <a:pt x="283369" y="295030"/>
                  <a:pt x="282046" y="293687"/>
                  <a:pt x="279401" y="293687"/>
                </a:cubicBezTo>
                <a:close/>
                <a:moveTo>
                  <a:pt x="222250" y="282575"/>
                </a:moveTo>
                <a:cubicBezTo>
                  <a:pt x="223567" y="282575"/>
                  <a:pt x="223567" y="282575"/>
                  <a:pt x="223567" y="282575"/>
                </a:cubicBezTo>
                <a:lnTo>
                  <a:pt x="338138" y="282575"/>
                </a:lnTo>
                <a:cubicBezTo>
                  <a:pt x="338138" y="282575"/>
                  <a:pt x="338138" y="282575"/>
                  <a:pt x="338138" y="298450"/>
                </a:cubicBezTo>
                <a:cubicBezTo>
                  <a:pt x="338138" y="315648"/>
                  <a:pt x="323652" y="330200"/>
                  <a:pt x="305215" y="330200"/>
                </a:cubicBezTo>
                <a:cubicBezTo>
                  <a:pt x="305215" y="330200"/>
                  <a:pt x="305215" y="330200"/>
                  <a:pt x="255173" y="330200"/>
                </a:cubicBezTo>
                <a:cubicBezTo>
                  <a:pt x="236736" y="330200"/>
                  <a:pt x="222250" y="315648"/>
                  <a:pt x="222250" y="298450"/>
                </a:cubicBezTo>
                <a:cubicBezTo>
                  <a:pt x="222250" y="298450"/>
                  <a:pt x="222250" y="298450"/>
                  <a:pt x="222250" y="282575"/>
                </a:cubicBezTo>
                <a:close/>
                <a:moveTo>
                  <a:pt x="55563" y="274637"/>
                </a:moveTo>
                <a:cubicBezTo>
                  <a:pt x="55563" y="274637"/>
                  <a:pt x="55563" y="274637"/>
                  <a:pt x="149226" y="274637"/>
                </a:cubicBezTo>
                <a:cubicBezTo>
                  <a:pt x="145268" y="296227"/>
                  <a:pt x="125481" y="312737"/>
                  <a:pt x="103054" y="312737"/>
                </a:cubicBezTo>
                <a:cubicBezTo>
                  <a:pt x="79309" y="312737"/>
                  <a:pt x="59521" y="296227"/>
                  <a:pt x="55563" y="274637"/>
                </a:cubicBezTo>
                <a:close/>
                <a:moveTo>
                  <a:pt x="168911" y="244475"/>
                </a:moveTo>
                <a:cubicBezTo>
                  <a:pt x="168911" y="244475"/>
                  <a:pt x="168911" y="244475"/>
                  <a:pt x="205459" y="244475"/>
                </a:cubicBezTo>
                <a:cubicBezTo>
                  <a:pt x="211985" y="244475"/>
                  <a:pt x="215901" y="249767"/>
                  <a:pt x="215901" y="256381"/>
                </a:cubicBezTo>
                <a:cubicBezTo>
                  <a:pt x="215901" y="262996"/>
                  <a:pt x="211985" y="268288"/>
                  <a:pt x="205459" y="268288"/>
                </a:cubicBezTo>
                <a:cubicBezTo>
                  <a:pt x="205459" y="268288"/>
                  <a:pt x="205459" y="268288"/>
                  <a:pt x="168911" y="268288"/>
                </a:cubicBezTo>
                <a:cubicBezTo>
                  <a:pt x="162384" y="268288"/>
                  <a:pt x="157163" y="262996"/>
                  <a:pt x="157163" y="256381"/>
                </a:cubicBezTo>
                <a:cubicBezTo>
                  <a:pt x="157163" y="249767"/>
                  <a:pt x="162384" y="244475"/>
                  <a:pt x="168911" y="244475"/>
                </a:cubicBezTo>
                <a:close/>
                <a:moveTo>
                  <a:pt x="53975" y="236537"/>
                </a:moveTo>
                <a:lnTo>
                  <a:pt x="150813" y="236537"/>
                </a:lnTo>
                <a:lnTo>
                  <a:pt x="150813" y="258762"/>
                </a:lnTo>
                <a:lnTo>
                  <a:pt x="53975" y="258762"/>
                </a:lnTo>
                <a:close/>
                <a:moveTo>
                  <a:pt x="255173" y="150812"/>
                </a:moveTo>
                <a:cubicBezTo>
                  <a:pt x="255173" y="150812"/>
                  <a:pt x="255173" y="150812"/>
                  <a:pt x="305215" y="150812"/>
                </a:cubicBezTo>
                <a:cubicBezTo>
                  <a:pt x="323652" y="150812"/>
                  <a:pt x="338138" y="165135"/>
                  <a:pt x="338138" y="182063"/>
                </a:cubicBezTo>
                <a:cubicBezTo>
                  <a:pt x="338138" y="182063"/>
                  <a:pt x="338138" y="182063"/>
                  <a:pt x="338138" y="266700"/>
                </a:cubicBezTo>
                <a:cubicBezTo>
                  <a:pt x="338138" y="266700"/>
                  <a:pt x="338138" y="266700"/>
                  <a:pt x="223567" y="266700"/>
                </a:cubicBezTo>
                <a:cubicBezTo>
                  <a:pt x="223567" y="266700"/>
                  <a:pt x="223567" y="266700"/>
                  <a:pt x="222250" y="266700"/>
                </a:cubicBezTo>
                <a:cubicBezTo>
                  <a:pt x="222250" y="266700"/>
                  <a:pt x="222250" y="266700"/>
                  <a:pt x="222250" y="182063"/>
                </a:cubicBezTo>
                <a:cubicBezTo>
                  <a:pt x="222250" y="165135"/>
                  <a:pt x="236736" y="150812"/>
                  <a:pt x="255173" y="150812"/>
                </a:cubicBezTo>
                <a:close/>
                <a:moveTo>
                  <a:pt x="85111" y="128587"/>
                </a:moveTo>
                <a:cubicBezTo>
                  <a:pt x="85111" y="128587"/>
                  <a:pt x="85111" y="128587"/>
                  <a:pt x="97913" y="135164"/>
                </a:cubicBezTo>
                <a:cubicBezTo>
                  <a:pt x="100474" y="136479"/>
                  <a:pt x="104314" y="136479"/>
                  <a:pt x="106875" y="135164"/>
                </a:cubicBezTo>
                <a:cubicBezTo>
                  <a:pt x="106875" y="135164"/>
                  <a:pt x="106875" y="135164"/>
                  <a:pt x="119678" y="128587"/>
                </a:cubicBezTo>
                <a:cubicBezTo>
                  <a:pt x="119678" y="128587"/>
                  <a:pt x="119678" y="128587"/>
                  <a:pt x="122238" y="129902"/>
                </a:cubicBezTo>
                <a:lnTo>
                  <a:pt x="109435" y="220662"/>
                </a:lnTo>
                <a:cubicBezTo>
                  <a:pt x="109435" y="220662"/>
                  <a:pt x="109435" y="220662"/>
                  <a:pt x="95353" y="220662"/>
                </a:cubicBezTo>
                <a:cubicBezTo>
                  <a:pt x="95353" y="220662"/>
                  <a:pt x="95353" y="220662"/>
                  <a:pt x="82550" y="129902"/>
                </a:cubicBezTo>
                <a:cubicBezTo>
                  <a:pt x="82550" y="129902"/>
                  <a:pt x="82550" y="129902"/>
                  <a:pt x="85111" y="128587"/>
                </a:cubicBezTo>
                <a:close/>
                <a:moveTo>
                  <a:pt x="224631" y="60325"/>
                </a:moveTo>
                <a:cubicBezTo>
                  <a:pt x="224631" y="60325"/>
                  <a:pt x="224631" y="60325"/>
                  <a:pt x="280194" y="60325"/>
                </a:cubicBezTo>
                <a:cubicBezTo>
                  <a:pt x="286808" y="60325"/>
                  <a:pt x="292100" y="65599"/>
                  <a:pt x="292100" y="70872"/>
                </a:cubicBezTo>
                <a:cubicBezTo>
                  <a:pt x="292100" y="70872"/>
                  <a:pt x="292100" y="70872"/>
                  <a:pt x="292100" y="127565"/>
                </a:cubicBezTo>
                <a:cubicBezTo>
                  <a:pt x="292100" y="132839"/>
                  <a:pt x="286808" y="138113"/>
                  <a:pt x="280194" y="138113"/>
                </a:cubicBezTo>
                <a:cubicBezTo>
                  <a:pt x="273579" y="138113"/>
                  <a:pt x="269610" y="132839"/>
                  <a:pt x="269610" y="127565"/>
                </a:cubicBezTo>
                <a:cubicBezTo>
                  <a:pt x="269610" y="127565"/>
                  <a:pt x="269610" y="127565"/>
                  <a:pt x="269610" y="82738"/>
                </a:cubicBezTo>
                <a:cubicBezTo>
                  <a:pt x="269610" y="82738"/>
                  <a:pt x="269610" y="82738"/>
                  <a:pt x="224631" y="82738"/>
                </a:cubicBezTo>
                <a:cubicBezTo>
                  <a:pt x="218017" y="82738"/>
                  <a:pt x="212725" y="77465"/>
                  <a:pt x="212725" y="70872"/>
                </a:cubicBezTo>
                <a:cubicBezTo>
                  <a:pt x="212725" y="65599"/>
                  <a:pt x="218017" y="60325"/>
                  <a:pt x="224631" y="60325"/>
                </a:cubicBezTo>
                <a:close/>
                <a:moveTo>
                  <a:pt x="103055" y="0"/>
                </a:moveTo>
                <a:cubicBezTo>
                  <a:pt x="158546" y="0"/>
                  <a:pt x="204788" y="44658"/>
                  <a:pt x="204788" y="101137"/>
                </a:cubicBezTo>
                <a:cubicBezTo>
                  <a:pt x="204788" y="135287"/>
                  <a:pt x="188934" y="165497"/>
                  <a:pt x="161188" y="185199"/>
                </a:cubicBezTo>
                <a:cubicBezTo>
                  <a:pt x="161188" y="185199"/>
                  <a:pt x="161188" y="185199"/>
                  <a:pt x="151940" y="220663"/>
                </a:cubicBezTo>
                <a:cubicBezTo>
                  <a:pt x="151940" y="220663"/>
                  <a:pt x="151940" y="220663"/>
                  <a:pt x="125515" y="220663"/>
                </a:cubicBezTo>
                <a:cubicBezTo>
                  <a:pt x="125515" y="220663"/>
                  <a:pt x="125515" y="220663"/>
                  <a:pt x="137406" y="136601"/>
                </a:cubicBezTo>
                <a:cubicBezTo>
                  <a:pt x="137406" y="136601"/>
                  <a:pt x="138727" y="136601"/>
                  <a:pt x="138727" y="136601"/>
                </a:cubicBezTo>
                <a:cubicBezTo>
                  <a:pt x="142691" y="136601"/>
                  <a:pt x="146655" y="133974"/>
                  <a:pt x="149297" y="130033"/>
                </a:cubicBezTo>
                <a:cubicBezTo>
                  <a:pt x="151940" y="124780"/>
                  <a:pt x="149297" y="118212"/>
                  <a:pt x="144012" y="115585"/>
                </a:cubicBezTo>
                <a:cubicBezTo>
                  <a:pt x="144012" y="115585"/>
                  <a:pt x="144012" y="115585"/>
                  <a:pt x="125515" y="106391"/>
                </a:cubicBezTo>
                <a:cubicBezTo>
                  <a:pt x="122873" y="105077"/>
                  <a:pt x="118909" y="105077"/>
                  <a:pt x="116267" y="106391"/>
                </a:cubicBezTo>
                <a:cubicBezTo>
                  <a:pt x="116267" y="106391"/>
                  <a:pt x="116267" y="106391"/>
                  <a:pt x="103055" y="112958"/>
                </a:cubicBezTo>
                <a:cubicBezTo>
                  <a:pt x="103055" y="112958"/>
                  <a:pt x="103055" y="112958"/>
                  <a:pt x="88521" y="106391"/>
                </a:cubicBezTo>
                <a:cubicBezTo>
                  <a:pt x="85879" y="105077"/>
                  <a:pt x="81915" y="105077"/>
                  <a:pt x="79273" y="106391"/>
                </a:cubicBezTo>
                <a:cubicBezTo>
                  <a:pt x="79273" y="106391"/>
                  <a:pt x="79273" y="106391"/>
                  <a:pt x="60776" y="115585"/>
                </a:cubicBezTo>
                <a:cubicBezTo>
                  <a:pt x="55491" y="118212"/>
                  <a:pt x="52848" y="124780"/>
                  <a:pt x="55491" y="130033"/>
                </a:cubicBezTo>
                <a:cubicBezTo>
                  <a:pt x="58133" y="135287"/>
                  <a:pt x="63418" y="136601"/>
                  <a:pt x="67382" y="136601"/>
                </a:cubicBezTo>
                <a:cubicBezTo>
                  <a:pt x="67382" y="136601"/>
                  <a:pt x="67382" y="136601"/>
                  <a:pt x="79273" y="220663"/>
                </a:cubicBezTo>
                <a:cubicBezTo>
                  <a:pt x="79273" y="220663"/>
                  <a:pt x="79273" y="220663"/>
                  <a:pt x="52848" y="220663"/>
                </a:cubicBezTo>
                <a:cubicBezTo>
                  <a:pt x="52848" y="220663"/>
                  <a:pt x="52848" y="220663"/>
                  <a:pt x="43600" y="185199"/>
                </a:cubicBezTo>
                <a:cubicBezTo>
                  <a:pt x="15854" y="165497"/>
                  <a:pt x="0" y="135287"/>
                  <a:pt x="0" y="101137"/>
                </a:cubicBezTo>
                <a:cubicBezTo>
                  <a:pt x="0" y="44658"/>
                  <a:pt x="46242" y="0"/>
                  <a:pt x="10305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文本框 14"/>
          <p:cNvSpPr txBox="1"/>
          <p:nvPr/>
        </p:nvSpPr>
        <p:spPr>
          <a:xfrm>
            <a:off x="2948989" y="2015850"/>
            <a:ext cx="6322044" cy="358416"/>
          </a:xfrm>
          <a:prstGeom prst="rect">
            <a:avLst/>
          </a:prstGeom>
          <a:noFill/>
        </p:spPr>
        <p:txBody>
          <a:bodyPr wrap="square" lIns="144000" tIns="0" rIns="72000" bIns="0" anchor="ctr" anchorCtr="0">
            <a:normAutofit fontScale="85000" lnSpcReduction="10000"/>
          </a:bodyPr>
          <a:lstStyle/>
          <a:p>
            <a:pPr defTabSz="914378">
              <a:lnSpc>
                <a:spcPct val="120000"/>
              </a:lnSpc>
              <a:defRPr/>
            </a:pPr>
            <a:r>
              <a:rPr lang="zh-CN" altLang="en-US" sz="2400" b="1" dirty="0">
                <a:solidFill>
                  <a:schemeClr val="bg1"/>
                </a:solidFill>
                <a:latin typeface="等线 Light" panose="02010600030101010101" pitchFamily="2" charset="-122"/>
                <a:ea typeface="等线 Light" panose="02010600030101010101" pitchFamily="2" charset="-122"/>
              </a:rPr>
              <a:t>此部分内容作为文字排版占位显示（建议使用主题字体）</a:t>
            </a:r>
          </a:p>
        </p:txBody>
      </p:sp>
      <p:sp>
        <p:nvSpPr>
          <p:cNvPr id="27"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28"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25" name="音频 2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594171293"/>
      </p:ext>
    </p:extLst>
  </p:cSld>
  <p:clrMapOvr>
    <a:masterClrMapping/>
  </p:clrMapOvr>
  <mc:AlternateContent xmlns:mc="http://schemas.openxmlformats.org/markup-compatibility/2006" xmlns:p14="http://schemas.microsoft.com/office/powerpoint/2010/main">
    <mc:Choice Requires="p14">
      <p:transition spd="slow" p14:dur="1200" advTm="1338">
        <p:dissolve/>
      </p:transition>
    </mc:Choice>
    <mc:Fallback xmlns="">
      <p:transition spd="slow" advTm="1338">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5"/>
                                        </p:tgtEl>
                                      </p:cBhvr>
                                    </p:cmd>
                                  </p:childTnLst>
                                </p:cTn>
                              </p:par>
                            </p:childTnLst>
                          </p:cTn>
                        </p:par>
                        <p:par>
                          <p:cTn id="7" fill="hold">
                            <p:stCondLst>
                              <p:cond delay="0"/>
                            </p:stCondLst>
                            <p:childTnLst>
                              <p:par>
                                <p:cTn id="8" presetID="42" presetClass="entr" presetSubtype="0" fill="hold"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anim calcmode="lin" valueType="num">
                                      <p:cBhvr>
                                        <p:cTn id="11" dur="1000" fill="hold"/>
                                        <p:tgtEl>
                                          <p:spTgt spid="7"/>
                                        </p:tgtEl>
                                        <p:attrNameLst>
                                          <p:attrName>ppt_x</p:attrName>
                                        </p:attrNameLst>
                                      </p:cBhvr>
                                      <p:tavLst>
                                        <p:tav tm="0">
                                          <p:val>
                                            <p:strVal val="#ppt_x"/>
                                          </p:val>
                                        </p:tav>
                                        <p:tav tm="100000">
                                          <p:val>
                                            <p:strVal val="#ppt_x"/>
                                          </p:val>
                                        </p:tav>
                                      </p:tavLst>
                                    </p:anim>
                                    <p:anim calcmode="lin" valueType="num">
                                      <p:cBhvr>
                                        <p:cTn id="12"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3" fill="hold" display="0">
                  <p:stCondLst>
                    <p:cond delay="indefinite"/>
                  </p:stCondLst>
                  <p:endCondLst>
                    <p:cond evt="onStopAudio" delay="0">
                      <p:tgtEl>
                        <p:sldTgt/>
                      </p:tgtEl>
                    </p:cond>
                  </p:endCondLst>
                </p:cTn>
                <p:tgtEl>
                  <p:spTgt spid="25"/>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任意多边形 1"/>
          <p:cNvSpPr/>
          <p:nvPr/>
        </p:nvSpPr>
        <p:spPr>
          <a:xfrm>
            <a:off x="0" y="3413214"/>
            <a:ext cx="12205692" cy="2072154"/>
          </a:xfrm>
          <a:custGeom>
            <a:avLst/>
            <a:gdLst>
              <a:gd name="connsiteX0" fmla="*/ 0 w 12230100"/>
              <a:gd name="connsiteY0" fmla="*/ 2076297 h 2076297"/>
              <a:gd name="connsiteX1" fmla="*/ 6991350 w 12230100"/>
              <a:gd name="connsiteY1" fmla="*/ 171297 h 2076297"/>
              <a:gd name="connsiteX2" fmla="*/ 12230100 w 12230100"/>
              <a:gd name="connsiteY2" fmla="*/ 209397 h 2076297"/>
            </a:gdLst>
            <a:ahLst/>
            <a:cxnLst>
              <a:cxn ang="0">
                <a:pos x="connsiteX0" y="connsiteY0"/>
              </a:cxn>
              <a:cxn ang="0">
                <a:pos x="connsiteX1" y="connsiteY1"/>
              </a:cxn>
              <a:cxn ang="0">
                <a:pos x="connsiteX2" y="connsiteY2"/>
              </a:cxn>
            </a:cxnLst>
            <a:rect l="l" t="t" r="r" b="b"/>
            <a:pathLst>
              <a:path w="12230100" h="2076297">
                <a:moveTo>
                  <a:pt x="0" y="2076297"/>
                </a:moveTo>
                <a:cubicBezTo>
                  <a:pt x="2476500" y="1279372"/>
                  <a:pt x="4953000" y="482447"/>
                  <a:pt x="6991350" y="171297"/>
                </a:cubicBezTo>
                <a:cubicBezTo>
                  <a:pt x="9029700" y="-139853"/>
                  <a:pt x="10629900" y="34772"/>
                  <a:pt x="12230100" y="209397"/>
                </a:cubicBezTo>
              </a:path>
            </a:pathLst>
          </a:custGeom>
          <a:ln w="31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3" name="椭圆 2"/>
          <p:cNvSpPr/>
          <p:nvPr/>
        </p:nvSpPr>
        <p:spPr>
          <a:xfrm>
            <a:off x="1903835" y="4759119"/>
            <a:ext cx="215593" cy="215593"/>
          </a:xfrm>
          <a:prstGeom prst="ellipse">
            <a:avLst/>
          </a:prstGeom>
          <a:solidFill>
            <a:srgbClr val="04B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p>
        </p:txBody>
      </p:sp>
      <p:sp>
        <p:nvSpPr>
          <p:cNvPr id="4" name="矩形 3"/>
          <p:cNvSpPr/>
          <p:nvPr/>
        </p:nvSpPr>
        <p:spPr>
          <a:xfrm>
            <a:off x="2706641" y="3481544"/>
            <a:ext cx="2152823" cy="677493"/>
          </a:xfrm>
          <a:prstGeom prst="rect">
            <a:avLst/>
          </a:prstGeom>
        </p:spPr>
        <p:txBody>
          <a:bodyPr wrap="square">
            <a:spAutoFit/>
          </a:bodyPr>
          <a:lstStyle/>
          <a:p>
            <a:pPr>
              <a:lnSpc>
                <a:spcPct val="130000"/>
              </a:lnSpc>
            </a:pPr>
            <a:r>
              <a:rPr lang="zh-CN" altLang="en-US" sz="975" dirty="0">
                <a:solidFill>
                  <a:schemeClr val="bg1"/>
                </a:solidFill>
                <a:latin typeface="等线 Light" panose="02010600030101010101" pitchFamily="2" charset="-122"/>
                <a:ea typeface="等线 Light" panose="02010600030101010101" pitchFamily="2" charset="-122"/>
              </a:rPr>
              <a:t>在这里输入您的内容，在这里输入您的内容。</a:t>
            </a:r>
          </a:p>
          <a:p>
            <a:pPr>
              <a:lnSpc>
                <a:spcPct val="130000"/>
              </a:lnSpc>
            </a:pPr>
            <a:endParaRPr lang="zh-CN" altLang="en-US" sz="975" dirty="0">
              <a:solidFill>
                <a:schemeClr val="tx2">
                  <a:lumMod val="50000"/>
                </a:schemeClr>
              </a:solidFill>
              <a:latin typeface="方正细圆简体" pitchFamily="2" charset="-122"/>
              <a:ea typeface="方正细圆简体" pitchFamily="2" charset="-122"/>
            </a:endParaRPr>
          </a:p>
        </p:txBody>
      </p:sp>
      <p:grpSp>
        <p:nvGrpSpPr>
          <p:cNvPr id="5" name="组合 4"/>
          <p:cNvGrpSpPr/>
          <p:nvPr/>
        </p:nvGrpSpPr>
        <p:grpSpPr>
          <a:xfrm>
            <a:off x="1013986" y="2645564"/>
            <a:ext cx="1580421" cy="1569714"/>
            <a:chOff x="478582" y="2132856"/>
            <a:chExt cx="1782237" cy="1770163"/>
          </a:xfrm>
        </p:grpSpPr>
        <p:grpSp>
          <p:nvGrpSpPr>
            <p:cNvPr id="6" name="组合 5"/>
            <p:cNvGrpSpPr/>
            <p:nvPr/>
          </p:nvGrpSpPr>
          <p:grpSpPr>
            <a:xfrm>
              <a:off x="478582" y="2132856"/>
              <a:ext cx="1782237" cy="1770163"/>
              <a:chOff x="478582" y="2132856"/>
              <a:chExt cx="1782237" cy="1770163"/>
            </a:xfrm>
          </p:grpSpPr>
          <p:sp>
            <p:nvSpPr>
              <p:cNvPr id="8" name="椭圆形标注 7"/>
              <p:cNvSpPr/>
              <p:nvPr/>
            </p:nvSpPr>
            <p:spPr>
              <a:xfrm>
                <a:off x="478582" y="2132856"/>
                <a:ext cx="1782237" cy="1770163"/>
              </a:xfrm>
              <a:prstGeom prst="wedgeEllipseCallout">
                <a:avLst>
                  <a:gd name="adj1" fmla="val 9096"/>
                  <a:gd name="adj2" fmla="val 69529"/>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solidFill>
                    <a:schemeClr val="tx2">
                      <a:lumMod val="75000"/>
                    </a:schemeClr>
                  </a:solidFill>
                </a:endParaRPr>
              </a:p>
            </p:txBody>
          </p:sp>
          <p:sp>
            <p:nvSpPr>
              <p:cNvPr id="9" name="椭圆 8"/>
              <p:cNvSpPr/>
              <p:nvPr/>
            </p:nvSpPr>
            <p:spPr>
              <a:xfrm>
                <a:off x="679376" y="2334760"/>
                <a:ext cx="1366352" cy="1366352"/>
              </a:xfrm>
              <a:prstGeom prst="ellipse">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solidFill>
                    <a:srgbClr val="0070C0"/>
                  </a:solidFill>
                </a:endParaRPr>
              </a:p>
            </p:txBody>
          </p:sp>
        </p:grpSp>
        <p:sp>
          <p:nvSpPr>
            <p:cNvPr id="7" name="矩形 6"/>
            <p:cNvSpPr/>
            <p:nvPr/>
          </p:nvSpPr>
          <p:spPr>
            <a:xfrm>
              <a:off x="958567" y="2817073"/>
              <a:ext cx="931328" cy="381787"/>
            </a:xfrm>
            <a:prstGeom prst="rect">
              <a:avLst/>
            </a:prstGeom>
            <a:ln>
              <a:solidFill>
                <a:schemeClr val="accent1">
                  <a:lumMod val="50000"/>
                </a:schemeClr>
              </a:solidFill>
            </a:ln>
          </p:spPr>
          <p:txBody>
            <a:bodyPr wrap="none">
              <a:spAutoFit/>
            </a:bodyPr>
            <a:lstStyle/>
            <a:p>
              <a:pPr lvl="0" algn="ctr"/>
              <a:r>
                <a:rPr lang="en-US" altLang="zh-CN" sz="1600" dirty="0">
                  <a:solidFill>
                    <a:schemeClr val="bg1"/>
                  </a:solidFill>
                  <a:latin typeface="等线 Light" panose="02010600030101010101" pitchFamily="2" charset="-122"/>
                  <a:ea typeface="等线 Light" panose="02010600030101010101" pitchFamily="2" charset="-122"/>
                </a:rPr>
                <a:t>2017</a:t>
              </a:r>
              <a:r>
                <a:rPr lang="zh-CN" altLang="en-US" sz="1600" dirty="0">
                  <a:solidFill>
                    <a:schemeClr val="bg1"/>
                  </a:solidFill>
                  <a:latin typeface="等线 Light" panose="02010600030101010101" pitchFamily="2" charset="-122"/>
                  <a:ea typeface="等线 Light" panose="02010600030101010101" pitchFamily="2" charset="-122"/>
                </a:rPr>
                <a:t>年</a:t>
              </a:r>
            </a:p>
          </p:txBody>
        </p:sp>
      </p:grpSp>
      <p:sp>
        <p:nvSpPr>
          <p:cNvPr id="10" name="椭圆 9"/>
          <p:cNvSpPr/>
          <p:nvPr/>
        </p:nvSpPr>
        <p:spPr>
          <a:xfrm>
            <a:off x="3714211" y="4233698"/>
            <a:ext cx="215593" cy="215593"/>
          </a:xfrm>
          <a:prstGeom prst="ellipse">
            <a:avLst/>
          </a:prstGeom>
          <a:solidFill>
            <a:srgbClr val="04B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 name="矩形 10"/>
          <p:cNvSpPr/>
          <p:nvPr/>
        </p:nvSpPr>
        <p:spPr>
          <a:xfrm>
            <a:off x="969599" y="5870690"/>
            <a:ext cx="2084064" cy="677493"/>
          </a:xfrm>
          <a:prstGeom prst="rect">
            <a:avLst/>
          </a:prstGeom>
        </p:spPr>
        <p:txBody>
          <a:bodyPr wrap="square">
            <a:spAutoFit/>
          </a:bodyPr>
          <a:lstStyle/>
          <a:p>
            <a:pPr>
              <a:lnSpc>
                <a:spcPct val="130000"/>
              </a:lnSpc>
            </a:pPr>
            <a:r>
              <a:rPr lang="zh-CN" altLang="en-US" sz="975" dirty="0">
                <a:solidFill>
                  <a:schemeClr val="bg1"/>
                </a:solidFill>
                <a:latin typeface="等线 Light" panose="02010600030101010101" pitchFamily="2" charset="-122"/>
                <a:ea typeface="等线 Light" panose="02010600030101010101" pitchFamily="2" charset="-122"/>
              </a:rPr>
              <a:t>在这里输入您的内容，在这里输入您的内容。</a:t>
            </a:r>
          </a:p>
          <a:p>
            <a:pPr>
              <a:lnSpc>
                <a:spcPct val="130000"/>
              </a:lnSpc>
            </a:pPr>
            <a:endParaRPr lang="zh-CN" altLang="en-US" sz="975" dirty="0">
              <a:solidFill>
                <a:schemeClr val="tx2">
                  <a:lumMod val="50000"/>
                </a:schemeClr>
              </a:solidFill>
              <a:latin typeface="方正细圆简体" pitchFamily="2" charset="-122"/>
              <a:ea typeface="方正细圆简体" pitchFamily="2" charset="-122"/>
            </a:endParaRPr>
          </a:p>
        </p:txBody>
      </p:sp>
      <p:grpSp>
        <p:nvGrpSpPr>
          <p:cNvPr id="12" name="组合 11"/>
          <p:cNvGrpSpPr/>
          <p:nvPr/>
        </p:nvGrpSpPr>
        <p:grpSpPr>
          <a:xfrm>
            <a:off x="3366731" y="4992693"/>
            <a:ext cx="1580421" cy="1569714"/>
            <a:chOff x="478582" y="2132856"/>
            <a:chExt cx="1782237" cy="1770163"/>
          </a:xfrm>
        </p:grpSpPr>
        <p:grpSp>
          <p:nvGrpSpPr>
            <p:cNvPr id="13" name="组合 12"/>
            <p:cNvGrpSpPr/>
            <p:nvPr/>
          </p:nvGrpSpPr>
          <p:grpSpPr>
            <a:xfrm>
              <a:off x="478582" y="2132856"/>
              <a:ext cx="1782237" cy="1770163"/>
              <a:chOff x="478582" y="2132856"/>
              <a:chExt cx="1782237" cy="1770163"/>
            </a:xfrm>
          </p:grpSpPr>
          <p:sp>
            <p:nvSpPr>
              <p:cNvPr id="15" name="椭圆形标注 16"/>
              <p:cNvSpPr/>
              <p:nvPr/>
            </p:nvSpPr>
            <p:spPr>
              <a:xfrm>
                <a:off x="478582" y="2132856"/>
                <a:ext cx="1782237" cy="1770163"/>
              </a:xfrm>
              <a:prstGeom prst="wedgeEllipseCallout">
                <a:avLst>
                  <a:gd name="adj1" fmla="val -15945"/>
                  <a:gd name="adj2" fmla="val -64993"/>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solidFill>
                    <a:schemeClr val="tx2">
                      <a:lumMod val="75000"/>
                    </a:schemeClr>
                  </a:solidFill>
                </a:endParaRPr>
              </a:p>
            </p:txBody>
          </p:sp>
          <p:sp>
            <p:nvSpPr>
              <p:cNvPr id="16" name="椭圆 15"/>
              <p:cNvSpPr/>
              <p:nvPr/>
            </p:nvSpPr>
            <p:spPr>
              <a:xfrm>
                <a:off x="681743" y="2337851"/>
                <a:ext cx="1366354" cy="13663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solidFill>
                    <a:srgbClr val="0070C0"/>
                  </a:solidFill>
                </a:endParaRPr>
              </a:p>
            </p:txBody>
          </p:sp>
        </p:grpSp>
        <p:sp>
          <p:nvSpPr>
            <p:cNvPr id="14" name="矩形 13"/>
            <p:cNvSpPr/>
            <p:nvPr/>
          </p:nvSpPr>
          <p:spPr>
            <a:xfrm>
              <a:off x="948066" y="2856835"/>
              <a:ext cx="924097" cy="381787"/>
            </a:xfrm>
            <a:prstGeom prst="rect">
              <a:avLst/>
            </a:prstGeom>
          </p:spPr>
          <p:txBody>
            <a:bodyPr wrap="none">
              <a:spAutoFit/>
            </a:bodyPr>
            <a:lstStyle/>
            <a:p>
              <a:pPr lvl="0" algn="ctr"/>
              <a:r>
                <a:rPr lang="en-US" altLang="zh-CN" sz="1600" dirty="0">
                  <a:solidFill>
                    <a:schemeClr val="bg1"/>
                  </a:solidFill>
                  <a:latin typeface="等线 Light" panose="02010600030101010101" pitchFamily="2" charset="-122"/>
                  <a:ea typeface="等线 Light" panose="02010600030101010101" pitchFamily="2" charset="-122"/>
                </a:rPr>
                <a:t>2018</a:t>
              </a:r>
              <a:r>
                <a:rPr lang="zh-CN" altLang="en-US" sz="1600" dirty="0">
                  <a:solidFill>
                    <a:schemeClr val="bg1"/>
                  </a:solidFill>
                  <a:latin typeface="等线 Light" panose="02010600030101010101" pitchFamily="2" charset="-122"/>
                  <a:ea typeface="等线 Light" panose="02010600030101010101" pitchFamily="2" charset="-122"/>
                </a:rPr>
                <a:t>年</a:t>
              </a:r>
            </a:p>
          </p:txBody>
        </p:sp>
      </p:grpSp>
      <p:sp>
        <p:nvSpPr>
          <p:cNvPr id="17" name="椭圆 16"/>
          <p:cNvSpPr/>
          <p:nvPr/>
        </p:nvSpPr>
        <p:spPr>
          <a:xfrm>
            <a:off x="5174756" y="3852501"/>
            <a:ext cx="215593" cy="215593"/>
          </a:xfrm>
          <a:prstGeom prst="ellipse">
            <a:avLst/>
          </a:prstGeom>
          <a:solidFill>
            <a:srgbClr val="04B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 name="矩形 17"/>
          <p:cNvSpPr/>
          <p:nvPr/>
        </p:nvSpPr>
        <p:spPr>
          <a:xfrm>
            <a:off x="6173574" y="2661437"/>
            <a:ext cx="2084064" cy="677493"/>
          </a:xfrm>
          <a:prstGeom prst="rect">
            <a:avLst/>
          </a:prstGeom>
        </p:spPr>
        <p:txBody>
          <a:bodyPr wrap="square">
            <a:spAutoFit/>
          </a:bodyPr>
          <a:lstStyle/>
          <a:p>
            <a:pPr>
              <a:lnSpc>
                <a:spcPct val="130000"/>
              </a:lnSpc>
            </a:pPr>
            <a:r>
              <a:rPr lang="zh-CN" altLang="en-US" sz="975" dirty="0">
                <a:solidFill>
                  <a:schemeClr val="bg1"/>
                </a:solidFill>
                <a:latin typeface="等线 Light" panose="02010600030101010101" pitchFamily="2" charset="-122"/>
                <a:ea typeface="等线 Light" panose="02010600030101010101" pitchFamily="2" charset="-122"/>
              </a:rPr>
              <a:t>在这里输入您的内容，在这里输入您的内容。</a:t>
            </a:r>
          </a:p>
          <a:p>
            <a:pPr>
              <a:lnSpc>
                <a:spcPct val="130000"/>
              </a:lnSpc>
            </a:pPr>
            <a:endParaRPr lang="zh-CN" altLang="en-US" sz="975" dirty="0">
              <a:solidFill>
                <a:schemeClr val="tx2">
                  <a:lumMod val="50000"/>
                </a:schemeClr>
              </a:solidFill>
              <a:latin typeface="方正细圆简体" pitchFamily="2" charset="-122"/>
              <a:ea typeface="方正细圆简体" pitchFamily="2" charset="-122"/>
            </a:endParaRPr>
          </a:p>
        </p:txBody>
      </p:sp>
      <p:grpSp>
        <p:nvGrpSpPr>
          <p:cNvPr id="19" name="组合 18"/>
          <p:cNvGrpSpPr/>
          <p:nvPr/>
        </p:nvGrpSpPr>
        <p:grpSpPr>
          <a:xfrm>
            <a:off x="4475973" y="1694178"/>
            <a:ext cx="1580421" cy="1569714"/>
            <a:chOff x="478582" y="2132856"/>
            <a:chExt cx="1782237" cy="1770163"/>
          </a:xfrm>
        </p:grpSpPr>
        <p:grpSp>
          <p:nvGrpSpPr>
            <p:cNvPr id="20" name="组合 19"/>
            <p:cNvGrpSpPr/>
            <p:nvPr/>
          </p:nvGrpSpPr>
          <p:grpSpPr>
            <a:xfrm>
              <a:off x="478582" y="2132856"/>
              <a:ext cx="1782237" cy="1770163"/>
              <a:chOff x="478582" y="2132856"/>
              <a:chExt cx="1782237" cy="1770163"/>
            </a:xfrm>
          </p:grpSpPr>
          <p:sp>
            <p:nvSpPr>
              <p:cNvPr id="22" name="椭圆形标注 25"/>
              <p:cNvSpPr/>
              <p:nvPr/>
            </p:nvSpPr>
            <p:spPr>
              <a:xfrm>
                <a:off x="478582" y="2132856"/>
                <a:ext cx="1782237" cy="1770163"/>
              </a:xfrm>
              <a:prstGeom prst="wedgeEllipseCallout">
                <a:avLst>
                  <a:gd name="adj1" fmla="val 545"/>
                  <a:gd name="adj2" fmla="val 72758"/>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solidFill>
                    <a:schemeClr val="tx2">
                      <a:lumMod val="75000"/>
                    </a:schemeClr>
                  </a:solidFill>
                </a:endParaRPr>
              </a:p>
            </p:txBody>
          </p:sp>
          <p:sp>
            <p:nvSpPr>
              <p:cNvPr id="23" name="椭圆 22"/>
              <p:cNvSpPr/>
              <p:nvPr/>
            </p:nvSpPr>
            <p:spPr>
              <a:xfrm>
                <a:off x="704983" y="2343392"/>
                <a:ext cx="1366354" cy="13663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dirty="0">
                  <a:solidFill>
                    <a:srgbClr val="0070C0"/>
                  </a:solidFill>
                </a:endParaRPr>
              </a:p>
            </p:txBody>
          </p:sp>
        </p:grpSp>
        <p:sp>
          <p:nvSpPr>
            <p:cNvPr id="21" name="矩形 20"/>
            <p:cNvSpPr/>
            <p:nvPr/>
          </p:nvSpPr>
          <p:spPr>
            <a:xfrm>
              <a:off x="945752" y="2833271"/>
              <a:ext cx="924097" cy="381787"/>
            </a:xfrm>
            <a:prstGeom prst="rect">
              <a:avLst/>
            </a:prstGeom>
            <a:noFill/>
            <a:ln>
              <a:noFill/>
            </a:ln>
          </p:spPr>
          <p:txBody>
            <a:bodyPr wrap="none">
              <a:spAutoFit/>
            </a:bodyPr>
            <a:lstStyle/>
            <a:p>
              <a:pPr lvl="0" algn="ctr"/>
              <a:r>
                <a:rPr lang="en-US" altLang="zh-CN" sz="1600" dirty="0">
                  <a:solidFill>
                    <a:schemeClr val="bg1"/>
                  </a:solidFill>
                  <a:latin typeface="等线 Light" panose="02010600030101010101" pitchFamily="2" charset="-122"/>
                  <a:ea typeface="等线 Light" panose="02010600030101010101" pitchFamily="2" charset="-122"/>
                </a:rPr>
                <a:t>2019</a:t>
              </a:r>
              <a:r>
                <a:rPr lang="zh-CN" altLang="en-US" sz="1600" dirty="0">
                  <a:solidFill>
                    <a:schemeClr val="bg1"/>
                  </a:solidFill>
                  <a:latin typeface="等线 Light" panose="02010600030101010101" pitchFamily="2" charset="-122"/>
                  <a:ea typeface="等线 Light" panose="02010600030101010101" pitchFamily="2" charset="-122"/>
                </a:rPr>
                <a:t>年</a:t>
              </a:r>
            </a:p>
          </p:txBody>
        </p:sp>
      </p:grpSp>
      <p:sp>
        <p:nvSpPr>
          <p:cNvPr id="24" name="椭圆 23"/>
          <p:cNvSpPr/>
          <p:nvPr/>
        </p:nvSpPr>
        <p:spPr>
          <a:xfrm>
            <a:off x="6842173" y="3499842"/>
            <a:ext cx="215593" cy="215593"/>
          </a:xfrm>
          <a:prstGeom prst="ellipse">
            <a:avLst/>
          </a:prstGeom>
          <a:solidFill>
            <a:srgbClr val="04B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 name="矩形 24"/>
          <p:cNvSpPr/>
          <p:nvPr/>
        </p:nvSpPr>
        <p:spPr>
          <a:xfrm>
            <a:off x="7967705" y="4762013"/>
            <a:ext cx="2084064" cy="677493"/>
          </a:xfrm>
          <a:prstGeom prst="rect">
            <a:avLst/>
          </a:prstGeom>
        </p:spPr>
        <p:txBody>
          <a:bodyPr wrap="square">
            <a:spAutoFit/>
          </a:bodyPr>
          <a:lstStyle/>
          <a:p>
            <a:pPr>
              <a:lnSpc>
                <a:spcPct val="130000"/>
              </a:lnSpc>
            </a:pPr>
            <a:r>
              <a:rPr lang="zh-CN" altLang="en-US" sz="975" dirty="0">
                <a:solidFill>
                  <a:schemeClr val="bg1"/>
                </a:solidFill>
                <a:latin typeface="等线 Light" panose="02010600030101010101" pitchFamily="2" charset="-122"/>
                <a:ea typeface="等线 Light" panose="02010600030101010101" pitchFamily="2" charset="-122"/>
              </a:rPr>
              <a:t>在这里输入您的内容，在这里输入您的内容。</a:t>
            </a:r>
          </a:p>
          <a:p>
            <a:pPr>
              <a:lnSpc>
                <a:spcPct val="130000"/>
              </a:lnSpc>
            </a:pPr>
            <a:endParaRPr lang="zh-CN" altLang="en-US" sz="975" dirty="0">
              <a:solidFill>
                <a:schemeClr val="tx2">
                  <a:lumMod val="50000"/>
                </a:schemeClr>
              </a:solidFill>
              <a:latin typeface="方正细圆简体" pitchFamily="2" charset="-122"/>
              <a:ea typeface="方正细圆简体" pitchFamily="2" charset="-122"/>
            </a:endParaRPr>
          </a:p>
        </p:txBody>
      </p:sp>
      <p:grpSp>
        <p:nvGrpSpPr>
          <p:cNvPr id="26" name="组合 25"/>
          <p:cNvGrpSpPr/>
          <p:nvPr/>
        </p:nvGrpSpPr>
        <p:grpSpPr>
          <a:xfrm>
            <a:off x="6194454" y="4474715"/>
            <a:ext cx="1580421" cy="1569714"/>
            <a:chOff x="478582" y="2132856"/>
            <a:chExt cx="1782237" cy="1770163"/>
          </a:xfrm>
        </p:grpSpPr>
        <p:grpSp>
          <p:nvGrpSpPr>
            <p:cNvPr id="27" name="组合 26"/>
            <p:cNvGrpSpPr/>
            <p:nvPr/>
          </p:nvGrpSpPr>
          <p:grpSpPr>
            <a:xfrm>
              <a:off x="478582" y="2132856"/>
              <a:ext cx="1782237" cy="1770163"/>
              <a:chOff x="478582" y="2132856"/>
              <a:chExt cx="1782237" cy="1770163"/>
            </a:xfrm>
          </p:grpSpPr>
          <p:sp>
            <p:nvSpPr>
              <p:cNvPr id="29" name="椭圆形标注 34"/>
              <p:cNvSpPr/>
              <p:nvPr/>
            </p:nvSpPr>
            <p:spPr>
              <a:xfrm>
                <a:off x="478582" y="2132856"/>
                <a:ext cx="1782237" cy="1770163"/>
              </a:xfrm>
              <a:prstGeom prst="wedgeEllipseCallout">
                <a:avLst>
                  <a:gd name="adj1" fmla="val -1593"/>
                  <a:gd name="adj2" fmla="val -72526"/>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solidFill>
                    <a:schemeClr val="tx2">
                      <a:lumMod val="75000"/>
                    </a:schemeClr>
                  </a:solidFill>
                </a:endParaRPr>
              </a:p>
            </p:txBody>
          </p:sp>
          <p:sp>
            <p:nvSpPr>
              <p:cNvPr id="30" name="椭圆 29"/>
              <p:cNvSpPr/>
              <p:nvPr/>
            </p:nvSpPr>
            <p:spPr>
              <a:xfrm>
                <a:off x="696036" y="2340741"/>
                <a:ext cx="1366353" cy="13663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solidFill>
                    <a:srgbClr val="0070C0"/>
                  </a:solidFill>
                </a:endParaRPr>
              </a:p>
            </p:txBody>
          </p:sp>
        </p:grpSp>
        <p:sp>
          <p:nvSpPr>
            <p:cNvPr id="28" name="矩形 27"/>
            <p:cNvSpPr/>
            <p:nvPr/>
          </p:nvSpPr>
          <p:spPr>
            <a:xfrm>
              <a:off x="949368" y="2833271"/>
              <a:ext cx="916867" cy="381787"/>
            </a:xfrm>
            <a:prstGeom prst="rect">
              <a:avLst/>
            </a:prstGeom>
          </p:spPr>
          <p:txBody>
            <a:bodyPr wrap="none">
              <a:spAutoFit/>
            </a:bodyPr>
            <a:lstStyle/>
            <a:p>
              <a:pPr lvl="0" algn="ctr"/>
              <a:r>
                <a:rPr lang="en-US" altLang="zh-CN" sz="1600" dirty="0">
                  <a:solidFill>
                    <a:schemeClr val="bg1"/>
                  </a:solidFill>
                  <a:latin typeface="等线 Light" panose="02010600030101010101" pitchFamily="2" charset="-122"/>
                  <a:ea typeface="等线 Light" panose="02010600030101010101" pitchFamily="2" charset="-122"/>
                </a:rPr>
                <a:t>2020</a:t>
              </a:r>
              <a:r>
                <a:rPr lang="zh-CN" altLang="en-US" sz="1600" dirty="0">
                  <a:solidFill>
                    <a:schemeClr val="bg1"/>
                  </a:solidFill>
                  <a:latin typeface="等线 Light" panose="02010600030101010101" pitchFamily="2" charset="-122"/>
                  <a:ea typeface="等线 Light" panose="02010600030101010101" pitchFamily="2" charset="-122"/>
                </a:rPr>
                <a:t>年</a:t>
              </a:r>
            </a:p>
          </p:txBody>
        </p:sp>
      </p:grpSp>
      <p:sp>
        <p:nvSpPr>
          <p:cNvPr id="31" name="椭圆 30"/>
          <p:cNvSpPr/>
          <p:nvPr/>
        </p:nvSpPr>
        <p:spPr>
          <a:xfrm>
            <a:off x="9107230" y="3351719"/>
            <a:ext cx="215593" cy="215593"/>
          </a:xfrm>
          <a:prstGeom prst="ellipse">
            <a:avLst/>
          </a:prstGeom>
          <a:solidFill>
            <a:srgbClr val="04B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2" name="矩形 31"/>
          <p:cNvSpPr/>
          <p:nvPr/>
        </p:nvSpPr>
        <p:spPr>
          <a:xfrm>
            <a:off x="9776480" y="2735721"/>
            <a:ext cx="2084064" cy="677493"/>
          </a:xfrm>
          <a:prstGeom prst="rect">
            <a:avLst/>
          </a:prstGeom>
        </p:spPr>
        <p:txBody>
          <a:bodyPr wrap="square">
            <a:spAutoFit/>
          </a:bodyPr>
          <a:lstStyle/>
          <a:p>
            <a:pPr>
              <a:lnSpc>
                <a:spcPct val="130000"/>
              </a:lnSpc>
            </a:pPr>
            <a:r>
              <a:rPr lang="zh-CN" altLang="en-US" sz="975" dirty="0">
                <a:solidFill>
                  <a:schemeClr val="bg1"/>
                </a:solidFill>
                <a:latin typeface="等线 Light" panose="02010600030101010101" pitchFamily="2" charset="-122"/>
                <a:ea typeface="等线 Light" panose="02010600030101010101" pitchFamily="2" charset="-122"/>
              </a:rPr>
              <a:t>在这里输入您的内容，在这里输入您的内容。</a:t>
            </a:r>
          </a:p>
          <a:p>
            <a:pPr>
              <a:lnSpc>
                <a:spcPct val="130000"/>
              </a:lnSpc>
            </a:pPr>
            <a:endParaRPr lang="zh-CN" altLang="en-US" sz="975" dirty="0">
              <a:solidFill>
                <a:schemeClr val="tx2">
                  <a:lumMod val="50000"/>
                </a:schemeClr>
              </a:solidFill>
              <a:latin typeface="方正细圆简体" pitchFamily="2" charset="-122"/>
              <a:ea typeface="方正细圆简体" pitchFamily="2" charset="-122"/>
            </a:endParaRPr>
          </a:p>
        </p:txBody>
      </p:sp>
      <p:grpSp>
        <p:nvGrpSpPr>
          <p:cNvPr id="33" name="组合 32"/>
          <p:cNvGrpSpPr/>
          <p:nvPr/>
        </p:nvGrpSpPr>
        <p:grpSpPr>
          <a:xfrm>
            <a:off x="8425663" y="1212571"/>
            <a:ext cx="1580421" cy="1569714"/>
            <a:chOff x="478582" y="2132856"/>
            <a:chExt cx="1782237" cy="1770163"/>
          </a:xfrm>
        </p:grpSpPr>
        <p:grpSp>
          <p:nvGrpSpPr>
            <p:cNvPr id="34" name="组合 33"/>
            <p:cNvGrpSpPr/>
            <p:nvPr/>
          </p:nvGrpSpPr>
          <p:grpSpPr>
            <a:xfrm>
              <a:off x="478582" y="2132856"/>
              <a:ext cx="1782237" cy="1770163"/>
              <a:chOff x="478582" y="2132856"/>
              <a:chExt cx="1782237" cy="1770163"/>
            </a:xfrm>
          </p:grpSpPr>
          <p:sp>
            <p:nvSpPr>
              <p:cNvPr id="36" name="椭圆形标注 43"/>
              <p:cNvSpPr/>
              <p:nvPr/>
            </p:nvSpPr>
            <p:spPr>
              <a:xfrm>
                <a:off x="478582" y="2132856"/>
                <a:ext cx="1782237" cy="1770163"/>
              </a:xfrm>
              <a:prstGeom prst="wedgeEllipseCallout">
                <a:avLst>
                  <a:gd name="adj1" fmla="val 545"/>
                  <a:gd name="adj2" fmla="val 69529"/>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solidFill>
                    <a:schemeClr val="bg1"/>
                  </a:solidFill>
                </a:endParaRPr>
              </a:p>
            </p:txBody>
          </p:sp>
          <p:sp>
            <p:nvSpPr>
              <p:cNvPr id="37" name="椭圆 36"/>
              <p:cNvSpPr/>
              <p:nvPr/>
            </p:nvSpPr>
            <p:spPr>
              <a:xfrm>
                <a:off x="685569" y="2339356"/>
                <a:ext cx="1366354" cy="13663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dirty="0">
                  <a:solidFill>
                    <a:schemeClr val="bg1"/>
                  </a:solidFill>
                </a:endParaRPr>
              </a:p>
            </p:txBody>
          </p:sp>
        </p:grpSp>
        <p:sp>
          <p:nvSpPr>
            <p:cNvPr id="35" name="矩形 34"/>
            <p:cNvSpPr/>
            <p:nvPr/>
          </p:nvSpPr>
          <p:spPr>
            <a:xfrm>
              <a:off x="945752" y="2833271"/>
              <a:ext cx="924097" cy="381787"/>
            </a:xfrm>
            <a:prstGeom prst="rect">
              <a:avLst/>
            </a:prstGeom>
          </p:spPr>
          <p:txBody>
            <a:bodyPr wrap="none">
              <a:spAutoFit/>
            </a:bodyPr>
            <a:lstStyle/>
            <a:p>
              <a:pPr lvl="0" algn="ctr"/>
              <a:r>
                <a:rPr lang="en-US" altLang="zh-CN" sz="1600" dirty="0">
                  <a:solidFill>
                    <a:schemeClr val="bg1"/>
                  </a:solidFill>
                  <a:latin typeface="等线 Light" panose="02010600030101010101" pitchFamily="2" charset="-122"/>
                  <a:ea typeface="等线 Light" panose="02010600030101010101" pitchFamily="2" charset="-122"/>
                </a:rPr>
                <a:t>2021</a:t>
              </a:r>
              <a:r>
                <a:rPr lang="zh-CN" altLang="en-US" sz="1600" dirty="0">
                  <a:solidFill>
                    <a:schemeClr val="bg1"/>
                  </a:solidFill>
                  <a:latin typeface="等线 Light" panose="02010600030101010101" pitchFamily="2" charset="-122"/>
                  <a:ea typeface="等线 Light" panose="02010600030101010101" pitchFamily="2" charset="-122"/>
                </a:rPr>
                <a:t>年</a:t>
              </a:r>
            </a:p>
          </p:txBody>
        </p:sp>
      </p:grpSp>
      <p:sp>
        <p:nvSpPr>
          <p:cNvPr id="38"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39"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42" name="音频 4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4138294153"/>
      </p:ext>
    </p:extLst>
  </p:cSld>
  <p:clrMapOvr>
    <a:masterClrMapping/>
  </p:clrMapOvr>
  <mc:AlternateContent xmlns:mc="http://schemas.openxmlformats.org/markup-compatibility/2006" xmlns:p14="http://schemas.microsoft.com/office/powerpoint/2010/main">
    <mc:Choice Requires="p14">
      <p:transition spd="slow" p14:dur="1200" advTm="1312">
        <p:dissolve/>
      </p:transition>
    </mc:Choice>
    <mc:Fallback xmlns="">
      <p:transition spd="slow" advTm="1312">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2"/>
                                        </p:tgtEl>
                                      </p:cBhvr>
                                    </p:cmd>
                                  </p:childTnLst>
                                </p:cTn>
                              </p:par>
                            </p:childTnLst>
                          </p:cTn>
                        </p:par>
                        <p:par>
                          <p:cTn id="7" fill="hold">
                            <p:stCondLst>
                              <p:cond delay="0"/>
                            </p:stCondLst>
                            <p:childTnLst>
                              <p:par>
                                <p:cTn id="8" presetID="22" presetClass="entr" presetSubtype="8"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left)">
                                      <p:cBhvr>
                                        <p:cTn id="10" dur="500"/>
                                        <p:tgtEl>
                                          <p:spTgt spid="2"/>
                                        </p:tgtEl>
                                      </p:cBhvr>
                                    </p:animEffect>
                                  </p:childTnLst>
                                </p:cTn>
                              </p:par>
                            </p:childTnLst>
                          </p:cTn>
                        </p:par>
                        <p:par>
                          <p:cTn id="11" fill="hold">
                            <p:stCondLst>
                              <p:cond delay="500"/>
                            </p:stCondLst>
                            <p:childTnLst>
                              <p:par>
                                <p:cTn id="12" presetID="23" presetClass="entr" presetSubtype="288"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250" fill="hold"/>
                                        <p:tgtEl>
                                          <p:spTgt spid="3"/>
                                        </p:tgtEl>
                                        <p:attrNameLst>
                                          <p:attrName>ppt_w</p:attrName>
                                        </p:attrNameLst>
                                      </p:cBhvr>
                                      <p:tavLst>
                                        <p:tav tm="0">
                                          <p:val>
                                            <p:strVal val="4/3*#ppt_w"/>
                                          </p:val>
                                        </p:tav>
                                        <p:tav tm="100000">
                                          <p:val>
                                            <p:strVal val="#ppt_w"/>
                                          </p:val>
                                        </p:tav>
                                      </p:tavLst>
                                    </p:anim>
                                    <p:anim calcmode="lin" valueType="num">
                                      <p:cBhvr>
                                        <p:cTn id="15" dur="250" fill="hold"/>
                                        <p:tgtEl>
                                          <p:spTgt spid="3"/>
                                        </p:tgtEl>
                                        <p:attrNameLst>
                                          <p:attrName>ppt_h</p:attrName>
                                        </p:attrNameLst>
                                      </p:cBhvr>
                                      <p:tavLst>
                                        <p:tav tm="0">
                                          <p:val>
                                            <p:strVal val="4/3*#ppt_h"/>
                                          </p:val>
                                        </p:tav>
                                        <p:tav tm="100000">
                                          <p:val>
                                            <p:strVal val="#ppt_h"/>
                                          </p:val>
                                        </p:tav>
                                      </p:tavLst>
                                    </p:anim>
                                  </p:childTnLst>
                                </p:cTn>
                              </p:par>
                            </p:childTnLst>
                          </p:cTn>
                        </p:par>
                        <p:par>
                          <p:cTn id="16" fill="hold">
                            <p:stCondLst>
                              <p:cond delay="750"/>
                            </p:stCondLst>
                            <p:childTnLst>
                              <p:par>
                                <p:cTn id="17" presetID="47"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anim calcmode="lin" valueType="num">
                                      <p:cBhvr>
                                        <p:cTn id="20" dur="500" fill="hold"/>
                                        <p:tgtEl>
                                          <p:spTgt spid="5"/>
                                        </p:tgtEl>
                                        <p:attrNameLst>
                                          <p:attrName>ppt_x</p:attrName>
                                        </p:attrNameLst>
                                      </p:cBhvr>
                                      <p:tavLst>
                                        <p:tav tm="0">
                                          <p:val>
                                            <p:strVal val="#ppt_x"/>
                                          </p:val>
                                        </p:tav>
                                        <p:tav tm="100000">
                                          <p:val>
                                            <p:strVal val="#ppt_x"/>
                                          </p:val>
                                        </p:tav>
                                      </p:tavLst>
                                    </p:anim>
                                    <p:anim calcmode="lin" valueType="num">
                                      <p:cBhvr>
                                        <p:cTn id="21" dur="500" fill="hold"/>
                                        <p:tgtEl>
                                          <p:spTgt spid="5"/>
                                        </p:tgtEl>
                                        <p:attrNameLst>
                                          <p:attrName>ppt_y</p:attrName>
                                        </p:attrNameLst>
                                      </p:cBhvr>
                                      <p:tavLst>
                                        <p:tav tm="0">
                                          <p:val>
                                            <p:strVal val="#ppt_y-.1"/>
                                          </p:val>
                                        </p:tav>
                                        <p:tav tm="100000">
                                          <p:val>
                                            <p:strVal val="#ppt_y"/>
                                          </p:val>
                                        </p:tav>
                                      </p:tavLst>
                                    </p:anim>
                                  </p:childTnLst>
                                </p:cTn>
                              </p:par>
                            </p:childTnLst>
                          </p:cTn>
                        </p:par>
                        <p:par>
                          <p:cTn id="22" fill="hold">
                            <p:stCondLst>
                              <p:cond delay="1250"/>
                            </p:stCondLst>
                            <p:childTnLst>
                              <p:par>
                                <p:cTn id="23" presetID="22" presetClass="entr" presetSubtype="8" fill="hold" grpId="0"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left)">
                                      <p:cBhvr>
                                        <p:cTn id="25" dur="250"/>
                                        <p:tgtEl>
                                          <p:spTgt spid="4"/>
                                        </p:tgtEl>
                                      </p:cBhvr>
                                    </p:animEffect>
                                  </p:childTnLst>
                                </p:cTn>
                              </p:par>
                            </p:childTnLst>
                          </p:cTn>
                        </p:par>
                        <p:par>
                          <p:cTn id="26" fill="hold">
                            <p:stCondLst>
                              <p:cond delay="1500"/>
                            </p:stCondLst>
                            <p:childTnLst>
                              <p:par>
                                <p:cTn id="27" presetID="23" presetClass="entr" presetSubtype="288" fill="hold" grpId="0" nodeType="after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p:cTn id="29" dur="250" fill="hold"/>
                                        <p:tgtEl>
                                          <p:spTgt spid="10"/>
                                        </p:tgtEl>
                                        <p:attrNameLst>
                                          <p:attrName>ppt_w</p:attrName>
                                        </p:attrNameLst>
                                      </p:cBhvr>
                                      <p:tavLst>
                                        <p:tav tm="0">
                                          <p:val>
                                            <p:strVal val="4/3*#ppt_w"/>
                                          </p:val>
                                        </p:tav>
                                        <p:tav tm="100000">
                                          <p:val>
                                            <p:strVal val="#ppt_w"/>
                                          </p:val>
                                        </p:tav>
                                      </p:tavLst>
                                    </p:anim>
                                    <p:anim calcmode="lin" valueType="num">
                                      <p:cBhvr>
                                        <p:cTn id="30" dur="250" fill="hold"/>
                                        <p:tgtEl>
                                          <p:spTgt spid="10"/>
                                        </p:tgtEl>
                                        <p:attrNameLst>
                                          <p:attrName>ppt_h</p:attrName>
                                        </p:attrNameLst>
                                      </p:cBhvr>
                                      <p:tavLst>
                                        <p:tav tm="0">
                                          <p:val>
                                            <p:strVal val="4/3*#ppt_h"/>
                                          </p:val>
                                        </p:tav>
                                        <p:tav tm="100000">
                                          <p:val>
                                            <p:strVal val="#ppt_h"/>
                                          </p:val>
                                        </p:tav>
                                      </p:tavLst>
                                    </p:anim>
                                  </p:childTnLst>
                                </p:cTn>
                              </p:par>
                            </p:childTnLst>
                          </p:cTn>
                        </p:par>
                        <p:par>
                          <p:cTn id="31" fill="hold">
                            <p:stCondLst>
                              <p:cond delay="1750"/>
                            </p:stCondLst>
                            <p:childTnLst>
                              <p:par>
                                <p:cTn id="32" presetID="47" presetClass="entr" presetSubtype="0"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anim calcmode="lin" valueType="num">
                                      <p:cBhvr>
                                        <p:cTn id="35" dur="500" fill="hold"/>
                                        <p:tgtEl>
                                          <p:spTgt spid="12"/>
                                        </p:tgtEl>
                                        <p:attrNameLst>
                                          <p:attrName>ppt_x</p:attrName>
                                        </p:attrNameLst>
                                      </p:cBhvr>
                                      <p:tavLst>
                                        <p:tav tm="0">
                                          <p:val>
                                            <p:strVal val="#ppt_x"/>
                                          </p:val>
                                        </p:tav>
                                        <p:tav tm="100000">
                                          <p:val>
                                            <p:strVal val="#ppt_x"/>
                                          </p:val>
                                        </p:tav>
                                      </p:tavLst>
                                    </p:anim>
                                    <p:anim calcmode="lin" valueType="num">
                                      <p:cBhvr>
                                        <p:cTn id="36" dur="500" fill="hold"/>
                                        <p:tgtEl>
                                          <p:spTgt spid="12"/>
                                        </p:tgtEl>
                                        <p:attrNameLst>
                                          <p:attrName>ppt_y</p:attrName>
                                        </p:attrNameLst>
                                      </p:cBhvr>
                                      <p:tavLst>
                                        <p:tav tm="0">
                                          <p:val>
                                            <p:strVal val="#ppt_y-.1"/>
                                          </p:val>
                                        </p:tav>
                                        <p:tav tm="100000">
                                          <p:val>
                                            <p:strVal val="#ppt_y"/>
                                          </p:val>
                                        </p:tav>
                                      </p:tavLst>
                                    </p:anim>
                                  </p:childTnLst>
                                </p:cTn>
                              </p:par>
                            </p:childTnLst>
                          </p:cTn>
                        </p:par>
                        <p:par>
                          <p:cTn id="37" fill="hold">
                            <p:stCondLst>
                              <p:cond delay="2250"/>
                            </p:stCondLst>
                            <p:childTnLst>
                              <p:par>
                                <p:cTn id="38" presetID="22" presetClass="entr" presetSubtype="8" fill="hold" grpId="0" nodeType="after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left)">
                                      <p:cBhvr>
                                        <p:cTn id="40" dur="250"/>
                                        <p:tgtEl>
                                          <p:spTgt spid="11"/>
                                        </p:tgtEl>
                                      </p:cBhvr>
                                    </p:animEffect>
                                  </p:childTnLst>
                                </p:cTn>
                              </p:par>
                            </p:childTnLst>
                          </p:cTn>
                        </p:par>
                        <p:par>
                          <p:cTn id="41" fill="hold">
                            <p:stCondLst>
                              <p:cond delay="2500"/>
                            </p:stCondLst>
                            <p:childTnLst>
                              <p:par>
                                <p:cTn id="42" presetID="23" presetClass="entr" presetSubtype="288" fill="hold" grpId="0" nodeType="afterEffect">
                                  <p:stCondLst>
                                    <p:cond delay="0"/>
                                  </p:stCondLst>
                                  <p:childTnLst>
                                    <p:set>
                                      <p:cBhvr>
                                        <p:cTn id="43" dur="1" fill="hold">
                                          <p:stCondLst>
                                            <p:cond delay="0"/>
                                          </p:stCondLst>
                                        </p:cTn>
                                        <p:tgtEl>
                                          <p:spTgt spid="17"/>
                                        </p:tgtEl>
                                        <p:attrNameLst>
                                          <p:attrName>style.visibility</p:attrName>
                                        </p:attrNameLst>
                                      </p:cBhvr>
                                      <p:to>
                                        <p:strVal val="visible"/>
                                      </p:to>
                                    </p:set>
                                    <p:anim calcmode="lin" valueType="num">
                                      <p:cBhvr>
                                        <p:cTn id="44" dur="250" fill="hold"/>
                                        <p:tgtEl>
                                          <p:spTgt spid="17"/>
                                        </p:tgtEl>
                                        <p:attrNameLst>
                                          <p:attrName>ppt_w</p:attrName>
                                        </p:attrNameLst>
                                      </p:cBhvr>
                                      <p:tavLst>
                                        <p:tav tm="0">
                                          <p:val>
                                            <p:strVal val="4/3*#ppt_w"/>
                                          </p:val>
                                        </p:tav>
                                        <p:tav tm="100000">
                                          <p:val>
                                            <p:strVal val="#ppt_w"/>
                                          </p:val>
                                        </p:tav>
                                      </p:tavLst>
                                    </p:anim>
                                    <p:anim calcmode="lin" valueType="num">
                                      <p:cBhvr>
                                        <p:cTn id="45" dur="250" fill="hold"/>
                                        <p:tgtEl>
                                          <p:spTgt spid="17"/>
                                        </p:tgtEl>
                                        <p:attrNameLst>
                                          <p:attrName>ppt_h</p:attrName>
                                        </p:attrNameLst>
                                      </p:cBhvr>
                                      <p:tavLst>
                                        <p:tav tm="0">
                                          <p:val>
                                            <p:strVal val="4/3*#ppt_h"/>
                                          </p:val>
                                        </p:tav>
                                        <p:tav tm="100000">
                                          <p:val>
                                            <p:strVal val="#ppt_h"/>
                                          </p:val>
                                        </p:tav>
                                      </p:tavLst>
                                    </p:anim>
                                  </p:childTnLst>
                                </p:cTn>
                              </p:par>
                            </p:childTnLst>
                          </p:cTn>
                        </p:par>
                        <p:par>
                          <p:cTn id="46" fill="hold">
                            <p:stCondLst>
                              <p:cond delay="2750"/>
                            </p:stCondLst>
                            <p:childTnLst>
                              <p:par>
                                <p:cTn id="47" presetID="47" presetClass="entr" presetSubtype="0" fill="hold" nodeType="after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500"/>
                                        <p:tgtEl>
                                          <p:spTgt spid="19"/>
                                        </p:tgtEl>
                                      </p:cBhvr>
                                    </p:animEffect>
                                    <p:anim calcmode="lin" valueType="num">
                                      <p:cBhvr>
                                        <p:cTn id="50" dur="500" fill="hold"/>
                                        <p:tgtEl>
                                          <p:spTgt spid="19"/>
                                        </p:tgtEl>
                                        <p:attrNameLst>
                                          <p:attrName>ppt_x</p:attrName>
                                        </p:attrNameLst>
                                      </p:cBhvr>
                                      <p:tavLst>
                                        <p:tav tm="0">
                                          <p:val>
                                            <p:strVal val="#ppt_x"/>
                                          </p:val>
                                        </p:tav>
                                        <p:tav tm="100000">
                                          <p:val>
                                            <p:strVal val="#ppt_x"/>
                                          </p:val>
                                        </p:tav>
                                      </p:tavLst>
                                    </p:anim>
                                    <p:anim calcmode="lin" valueType="num">
                                      <p:cBhvr>
                                        <p:cTn id="51" dur="500" fill="hold"/>
                                        <p:tgtEl>
                                          <p:spTgt spid="19"/>
                                        </p:tgtEl>
                                        <p:attrNameLst>
                                          <p:attrName>ppt_y</p:attrName>
                                        </p:attrNameLst>
                                      </p:cBhvr>
                                      <p:tavLst>
                                        <p:tav tm="0">
                                          <p:val>
                                            <p:strVal val="#ppt_y-.1"/>
                                          </p:val>
                                        </p:tav>
                                        <p:tav tm="100000">
                                          <p:val>
                                            <p:strVal val="#ppt_y"/>
                                          </p:val>
                                        </p:tav>
                                      </p:tavLst>
                                    </p:anim>
                                  </p:childTnLst>
                                </p:cTn>
                              </p:par>
                            </p:childTnLst>
                          </p:cTn>
                        </p:par>
                        <p:par>
                          <p:cTn id="52" fill="hold">
                            <p:stCondLst>
                              <p:cond delay="3250"/>
                            </p:stCondLst>
                            <p:childTnLst>
                              <p:par>
                                <p:cTn id="53" presetID="22" presetClass="entr" presetSubtype="8" fill="hold" grpId="0"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wipe(left)">
                                      <p:cBhvr>
                                        <p:cTn id="55" dur="250"/>
                                        <p:tgtEl>
                                          <p:spTgt spid="18"/>
                                        </p:tgtEl>
                                      </p:cBhvr>
                                    </p:animEffect>
                                  </p:childTnLst>
                                </p:cTn>
                              </p:par>
                            </p:childTnLst>
                          </p:cTn>
                        </p:par>
                        <p:par>
                          <p:cTn id="56" fill="hold">
                            <p:stCondLst>
                              <p:cond delay="3500"/>
                            </p:stCondLst>
                            <p:childTnLst>
                              <p:par>
                                <p:cTn id="57" presetID="23" presetClass="entr" presetSubtype="288"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 calcmode="lin" valueType="num">
                                      <p:cBhvr>
                                        <p:cTn id="59" dur="250" fill="hold"/>
                                        <p:tgtEl>
                                          <p:spTgt spid="24"/>
                                        </p:tgtEl>
                                        <p:attrNameLst>
                                          <p:attrName>ppt_w</p:attrName>
                                        </p:attrNameLst>
                                      </p:cBhvr>
                                      <p:tavLst>
                                        <p:tav tm="0">
                                          <p:val>
                                            <p:strVal val="4/3*#ppt_w"/>
                                          </p:val>
                                        </p:tav>
                                        <p:tav tm="100000">
                                          <p:val>
                                            <p:strVal val="#ppt_w"/>
                                          </p:val>
                                        </p:tav>
                                      </p:tavLst>
                                    </p:anim>
                                    <p:anim calcmode="lin" valueType="num">
                                      <p:cBhvr>
                                        <p:cTn id="60" dur="250" fill="hold"/>
                                        <p:tgtEl>
                                          <p:spTgt spid="24"/>
                                        </p:tgtEl>
                                        <p:attrNameLst>
                                          <p:attrName>ppt_h</p:attrName>
                                        </p:attrNameLst>
                                      </p:cBhvr>
                                      <p:tavLst>
                                        <p:tav tm="0">
                                          <p:val>
                                            <p:strVal val="4/3*#ppt_h"/>
                                          </p:val>
                                        </p:tav>
                                        <p:tav tm="100000">
                                          <p:val>
                                            <p:strVal val="#ppt_h"/>
                                          </p:val>
                                        </p:tav>
                                      </p:tavLst>
                                    </p:anim>
                                  </p:childTnLst>
                                </p:cTn>
                              </p:par>
                            </p:childTnLst>
                          </p:cTn>
                        </p:par>
                        <p:par>
                          <p:cTn id="61" fill="hold">
                            <p:stCondLst>
                              <p:cond delay="3750"/>
                            </p:stCondLst>
                            <p:childTnLst>
                              <p:par>
                                <p:cTn id="62" presetID="47" presetClass="entr" presetSubtype="0" fill="hold" nodeType="after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fade">
                                      <p:cBhvr>
                                        <p:cTn id="64" dur="500"/>
                                        <p:tgtEl>
                                          <p:spTgt spid="26"/>
                                        </p:tgtEl>
                                      </p:cBhvr>
                                    </p:animEffect>
                                    <p:anim calcmode="lin" valueType="num">
                                      <p:cBhvr>
                                        <p:cTn id="65" dur="500" fill="hold"/>
                                        <p:tgtEl>
                                          <p:spTgt spid="26"/>
                                        </p:tgtEl>
                                        <p:attrNameLst>
                                          <p:attrName>ppt_x</p:attrName>
                                        </p:attrNameLst>
                                      </p:cBhvr>
                                      <p:tavLst>
                                        <p:tav tm="0">
                                          <p:val>
                                            <p:strVal val="#ppt_x"/>
                                          </p:val>
                                        </p:tav>
                                        <p:tav tm="100000">
                                          <p:val>
                                            <p:strVal val="#ppt_x"/>
                                          </p:val>
                                        </p:tav>
                                      </p:tavLst>
                                    </p:anim>
                                    <p:anim calcmode="lin" valueType="num">
                                      <p:cBhvr>
                                        <p:cTn id="66" dur="500" fill="hold"/>
                                        <p:tgtEl>
                                          <p:spTgt spid="26"/>
                                        </p:tgtEl>
                                        <p:attrNameLst>
                                          <p:attrName>ppt_y</p:attrName>
                                        </p:attrNameLst>
                                      </p:cBhvr>
                                      <p:tavLst>
                                        <p:tav tm="0">
                                          <p:val>
                                            <p:strVal val="#ppt_y-.1"/>
                                          </p:val>
                                        </p:tav>
                                        <p:tav tm="100000">
                                          <p:val>
                                            <p:strVal val="#ppt_y"/>
                                          </p:val>
                                        </p:tav>
                                      </p:tavLst>
                                    </p:anim>
                                  </p:childTnLst>
                                </p:cTn>
                              </p:par>
                            </p:childTnLst>
                          </p:cTn>
                        </p:par>
                        <p:par>
                          <p:cTn id="67" fill="hold">
                            <p:stCondLst>
                              <p:cond delay="4250"/>
                            </p:stCondLst>
                            <p:childTnLst>
                              <p:par>
                                <p:cTn id="68" presetID="22" presetClass="entr" presetSubtype="8" fill="hold" grpId="0"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wipe(left)">
                                      <p:cBhvr>
                                        <p:cTn id="70" dur="250"/>
                                        <p:tgtEl>
                                          <p:spTgt spid="25"/>
                                        </p:tgtEl>
                                      </p:cBhvr>
                                    </p:animEffect>
                                  </p:childTnLst>
                                </p:cTn>
                              </p:par>
                            </p:childTnLst>
                          </p:cTn>
                        </p:par>
                        <p:par>
                          <p:cTn id="71" fill="hold">
                            <p:stCondLst>
                              <p:cond delay="4500"/>
                            </p:stCondLst>
                            <p:childTnLst>
                              <p:par>
                                <p:cTn id="72" presetID="23" presetClass="entr" presetSubtype="288" fill="hold" grpId="0" nodeType="afterEffect">
                                  <p:stCondLst>
                                    <p:cond delay="0"/>
                                  </p:stCondLst>
                                  <p:childTnLst>
                                    <p:set>
                                      <p:cBhvr>
                                        <p:cTn id="73" dur="1" fill="hold">
                                          <p:stCondLst>
                                            <p:cond delay="0"/>
                                          </p:stCondLst>
                                        </p:cTn>
                                        <p:tgtEl>
                                          <p:spTgt spid="31"/>
                                        </p:tgtEl>
                                        <p:attrNameLst>
                                          <p:attrName>style.visibility</p:attrName>
                                        </p:attrNameLst>
                                      </p:cBhvr>
                                      <p:to>
                                        <p:strVal val="visible"/>
                                      </p:to>
                                    </p:set>
                                    <p:anim calcmode="lin" valueType="num">
                                      <p:cBhvr>
                                        <p:cTn id="74" dur="250" fill="hold"/>
                                        <p:tgtEl>
                                          <p:spTgt spid="31"/>
                                        </p:tgtEl>
                                        <p:attrNameLst>
                                          <p:attrName>ppt_w</p:attrName>
                                        </p:attrNameLst>
                                      </p:cBhvr>
                                      <p:tavLst>
                                        <p:tav tm="0">
                                          <p:val>
                                            <p:strVal val="4/3*#ppt_w"/>
                                          </p:val>
                                        </p:tav>
                                        <p:tav tm="100000">
                                          <p:val>
                                            <p:strVal val="#ppt_w"/>
                                          </p:val>
                                        </p:tav>
                                      </p:tavLst>
                                    </p:anim>
                                    <p:anim calcmode="lin" valueType="num">
                                      <p:cBhvr>
                                        <p:cTn id="75" dur="250" fill="hold"/>
                                        <p:tgtEl>
                                          <p:spTgt spid="31"/>
                                        </p:tgtEl>
                                        <p:attrNameLst>
                                          <p:attrName>ppt_h</p:attrName>
                                        </p:attrNameLst>
                                      </p:cBhvr>
                                      <p:tavLst>
                                        <p:tav tm="0">
                                          <p:val>
                                            <p:strVal val="4/3*#ppt_h"/>
                                          </p:val>
                                        </p:tav>
                                        <p:tav tm="100000">
                                          <p:val>
                                            <p:strVal val="#ppt_h"/>
                                          </p:val>
                                        </p:tav>
                                      </p:tavLst>
                                    </p:anim>
                                  </p:childTnLst>
                                </p:cTn>
                              </p:par>
                            </p:childTnLst>
                          </p:cTn>
                        </p:par>
                        <p:par>
                          <p:cTn id="76" fill="hold">
                            <p:stCondLst>
                              <p:cond delay="4750"/>
                            </p:stCondLst>
                            <p:childTnLst>
                              <p:par>
                                <p:cTn id="77" presetID="22" presetClass="entr" presetSubtype="8" fill="hold" grpId="0" nodeType="after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wipe(left)">
                                      <p:cBhvr>
                                        <p:cTn id="79" dur="250"/>
                                        <p:tgtEl>
                                          <p:spTgt spid="32"/>
                                        </p:tgtEl>
                                      </p:cBhvr>
                                    </p:animEffect>
                                  </p:childTnLst>
                                </p:cTn>
                              </p:par>
                            </p:childTnLst>
                          </p:cTn>
                        </p:par>
                        <p:par>
                          <p:cTn id="80" fill="hold">
                            <p:stCondLst>
                              <p:cond delay="5000"/>
                            </p:stCondLst>
                            <p:childTnLst>
                              <p:par>
                                <p:cTn id="81" presetID="47" presetClass="entr" presetSubtype="0" fill="hold"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anim calcmode="lin" valueType="num">
                                      <p:cBhvr>
                                        <p:cTn id="84" dur="500" fill="hold"/>
                                        <p:tgtEl>
                                          <p:spTgt spid="33"/>
                                        </p:tgtEl>
                                        <p:attrNameLst>
                                          <p:attrName>ppt_x</p:attrName>
                                        </p:attrNameLst>
                                      </p:cBhvr>
                                      <p:tavLst>
                                        <p:tav tm="0">
                                          <p:val>
                                            <p:strVal val="#ppt_x"/>
                                          </p:val>
                                        </p:tav>
                                        <p:tav tm="100000">
                                          <p:val>
                                            <p:strVal val="#ppt_x"/>
                                          </p:val>
                                        </p:tav>
                                      </p:tavLst>
                                    </p:anim>
                                    <p:anim calcmode="lin" valueType="num">
                                      <p:cBhvr>
                                        <p:cTn id="85"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86" fill="hold" display="0">
                  <p:stCondLst>
                    <p:cond delay="indefinite"/>
                  </p:stCondLst>
                  <p:endCondLst>
                    <p:cond evt="onStopAudio" delay="0">
                      <p:tgtEl>
                        <p:sldTgt/>
                      </p:tgtEl>
                    </p:cond>
                  </p:endCondLst>
                </p:cTn>
                <p:tgtEl>
                  <p:spTgt spid="42"/>
                </p:tgtEl>
              </p:cMediaNode>
            </p:audio>
          </p:childTnLst>
        </p:cTn>
      </p:par>
    </p:tnLst>
    <p:bldLst>
      <p:bldP spid="2" grpId="0" animBg="1"/>
      <p:bldP spid="3" grpId="0" animBg="1"/>
      <p:bldP spid="4" grpId="0"/>
      <p:bldP spid="10" grpId="0" animBg="1"/>
      <p:bldP spid="11" grpId="0"/>
      <p:bldP spid="17" grpId="0" animBg="1"/>
      <p:bldP spid="18" grpId="0"/>
      <p:bldP spid="24" grpId="0" animBg="1"/>
      <p:bldP spid="25" grpId="0"/>
      <p:bldP spid="31" grpId="0" animBg="1"/>
      <p:bldP spid="32"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0" name="组合 19"/>
          <p:cNvGrpSpPr/>
          <p:nvPr/>
        </p:nvGrpSpPr>
        <p:grpSpPr>
          <a:xfrm>
            <a:off x="765960" y="1899248"/>
            <a:ext cx="10673174" cy="3836766"/>
            <a:chOff x="759413" y="1722268"/>
            <a:chExt cx="10673174" cy="3836766"/>
          </a:xfrm>
        </p:grpSpPr>
        <p:sp>
          <p:nvSpPr>
            <p:cNvPr id="21" name="矩形 20"/>
            <p:cNvSpPr/>
            <p:nvPr/>
          </p:nvSpPr>
          <p:spPr bwMode="auto">
            <a:xfrm>
              <a:off x="759413" y="2654889"/>
              <a:ext cx="2098468" cy="2904145"/>
            </a:xfrm>
            <a:prstGeom prst="rect">
              <a:avLst/>
            </a:prstGeom>
            <a:solidFill>
              <a:schemeClr val="tx2">
                <a:lumMod val="20000"/>
                <a:lumOff val="80000"/>
              </a:schemeClr>
            </a:solidFill>
            <a:ln w="57150">
              <a:solidFill>
                <a:schemeClr val="bg1"/>
              </a:solidFill>
              <a:round/>
              <a:headEnd/>
              <a:tailEnd/>
            </a:ln>
            <a:effectLst/>
          </p:spPr>
          <p:txBody>
            <a:bodyPr vert="horz" wrap="square" lIns="91440" tIns="45720" rIns="91440" bIns="1440000" anchor="b" anchorCtr="1" compatLnSpc="1">
              <a:prstTxWarp prst="textNoShape">
                <a:avLst/>
              </a:prstTxWarp>
              <a:normAutofit/>
            </a:bodyPr>
            <a:lstStyle/>
            <a:p>
              <a:pPr algn="ctr">
                <a:lnSpc>
                  <a:spcPct val="120000"/>
                </a:lnSpc>
              </a:pPr>
              <a:r>
                <a:rPr lang="zh-CN" altLang="en-US" sz="1100" dirty="0">
                  <a:latin typeface="等线 Light" panose="02010600030101010101" pitchFamily="2" charset="-122"/>
                  <a:ea typeface="等线 Light" panose="02010600030101010101" pitchFamily="2" charset="-122"/>
                </a:rPr>
                <a:t>此部分内容作为文字排版占位显示 </a:t>
              </a:r>
              <a:br>
                <a:rPr lang="zh-CN" altLang="en-US" sz="1100" dirty="0">
                  <a:latin typeface="等线 Light" panose="02010600030101010101" pitchFamily="2" charset="-122"/>
                  <a:ea typeface="等线 Light" panose="02010600030101010101" pitchFamily="2" charset="-122"/>
                </a:rPr>
              </a:br>
              <a:r>
                <a:rPr lang="zh-CN" altLang="en-US" sz="1100" dirty="0">
                  <a:latin typeface="等线 Light" panose="02010600030101010101" pitchFamily="2" charset="-122"/>
                  <a:ea typeface="等线 Light" panose="02010600030101010101" pitchFamily="2" charset="-122"/>
                </a:rPr>
                <a:t>（建议使用主题字体）</a:t>
              </a:r>
            </a:p>
          </p:txBody>
        </p:sp>
        <p:sp>
          <p:nvSpPr>
            <p:cNvPr id="22" name="任意多边形 4"/>
            <p:cNvSpPr>
              <a:spLocks/>
            </p:cNvSpPr>
            <p:nvPr/>
          </p:nvSpPr>
          <p:spPr bwMode="auto">
            <a:xfrm>
              <a:off x="2855929" y="1809496"/>
              <a:ext cx="187572" cy="1088532"/>
            </a:xfrm>
            <a:custGeom>
              <a:avLst/>
              <a:gdLst/>
              <a:ahLst/>
              <a:cxnLst>
                <a:cxn ang="0">
                  <a:pos x="54" y="575"/>
                </a:cxn>
                <a:cxn ang="0">
                  <a:pos x="54" y="0"/>
                </a:cxn>
                <a:cxn ang="0">
                  <a:pos x="0" y="10"/>
                </a:cxn>
                <a:cxn ang="0">
                  <a:pos x="0" y="627"/>
                </a:cxn>
                <a:cxn ang="0">
                  <a:pos x="54" y="617"/>
                </a:cxn>
                <a:cxn ang="0">
                  <a:pos x="54" y="617"/>
                </a:cxn>
                <a:cxn ang="0">
                  <a:pos x="80" y="586"/>
                </a:cxn>
                <a:cxn ang="0">
                  <a:pos x="54" y="575"/>
                </a:cxn>
              </a:cxnLst>
              <a:rect l="0" t="0" r="r" b="b"/>
              <a:pathLst>
                <a:path w="81" h="627">
                  <a:moveTo>
                    <a:pt x="54" y="575"/>
                  </a:moveTo>
                  <a:cubicBezTo>
                    <a:pt x="54" y="0"/>
                    <a:pt x="54" y="0"/>
                    <a:pt x="54" y="0"/>
                  </a:cubicBezTo>
                  <a:cubicBezTo>
                    <a:pt x="0" y="10"/>
                    <a:pt x="0" y="10"/>
                    <a:pt x="0" y="10"/>
                  </a:cubicBezTo>
                  <a:cubicBezTo>
                    <a:pt x="0" y="627"/>
                    <a:pt x="0" y="627"/>
                    <a:pt x="0" y="627"/>
                  </a:cubicBezTo>
                  <a:cubicBezTo>
                    <a:pt x="54" y="617"/>
                    <a:pt x="54" y="617"/>
                    <a:pt x="54" y="617"/>
                  </a:cubicBezTo>
                  <a:cubicBezTo>
                    <a:pt x="54" y="617"/>
                    <a:pt x="54" y="617"/>
                    <a:pt x="54" y="617"/>
                  </a:cubicBezTo>
                  <a:cubicBezTo>
                    <a:pt x="54" y="617"/>
                    <a:pt x="81" y="612"/>
                    <a:pt x="80" y="586"/>
                  </a:cubicBezTo>
                  <a:cubicBezTo>
                    <a:pt x="79" y="567"/>
                    <a:pt x="54" y="575"/>
                    <a:pt x="54" y="575"/>
                  </a:cubicBezTo>
                  <a:close/>
                </a:path>
              </a:pathLst>
            </a:custGeom>
            <a:solidFill>
              <a:schemeClr val="accent1">
                <a:lumMod val="75000"/>
              </a:schemeClr>
            </a:solidFill>
            <a:ln w="9525">
              <a:noFill/>
              <a:round/>
              <a:headEnd/>
              <a:tailEnd/>
            </a:ln>
          </p:spPr>
          <p:txBody>
            <a:bodyPr anchor="ctr"/>
            <a:lstStyle/>
            <a:p>
              <a:pPr algn="ctr"/>
              <a:endParaRPr/>
            </a:p>
          </p:txBody>
        </p:sp>
        <p:sp>
          <p:nvSpPr>
            <p:cNvPr id="23" name="任意多边形 5"/>
            <p:cNvSpPr>
              <a:spLocks/>
            </p:cNvSpPr>
            <p:nvPr/>
          </p:nvSpPr>
          <p:spPr bwMode="auto">
            <a:xfrm>
              <a:off x="761367" y="1722268"/>
              <a:ext cx="2280180" cy="1410185"/>
            </a:xfrm>
            <a:custGeom>
              <a:avLst/>
              <a:gdLst/>
              <a:ahLst/>
              <a:cxnLst>
                <a:cxn ang="0">
                  <a:pos x="954" y="8"/>
                </a:cxn>
                <a:cxn ang="0">
                  <a:pos x="954" y="8"/>
                </a:cxn>
                <a:cxn ang="0">
                  <a:pos x="0" y="196"/>
                </a:cxn>
                <a:cxn ang="0">
                  <a:pos x="0" y="813"/>
                </a:cxn>
                <a:cxn ang="0">
                  <a:pos x="954" y="625"/>
                </a:cxn>
                <a:cxn ang="0">
                  <a:pos x="980" y="636"/>
                </a:cxn>
                <a:cxn ang="0">
                  <a:pos x="980" y="19"/>
                </a:cxn>
                <a:cxn ang="0">
                  <a:pos x="954" y="8"/>
                </a:cxn>
              </a:cxnLst>
              <a:rect l="0" t="0" r="r" b="b"/>
              <a:pathLst>
                <a:path w="980" h="813">
                  <a:moveTo>
                    <a:pt x="954" y="8"/>
                  </a:moveTo>
                  <a:cubicBezTo>
                    <a:pt x="954" y="8"/>
                    <a:pt x="954" y="8"/>
                    <a:pt x="954" y="8"/>
                  </a:cubicBezTo>
                  <a:cubicBezTo>
                    <a:pt x="0" y="196"/>
                    <a:pt x="0" y="196"/>
                    <a:pt x="0" y="196"/>
                  </a:cubicBezTo>
                  <a:cubicBezTo>
                    <a:pt x="0" y="813"/>
                    <a:pt x="0" y="813"/>
                    <a:pt x="0" y="813"/>
                  </a:cubicBezTo>
                  <a:cubicBezTo>
                    <a:pt x="954" y="625"/>
                    <a:pt x="954" y="625"/>
                    <a:pt x="954" y="625"/>
                  </a:cubicBezTo>
                  <a:cubicBezTo>
                    <a:pt x="954" y="625"/>
                    <a:pt x="979" y="617"/>
                    <a:pt x="980" y="636"/>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dirty="0"/>
            </a:p>
          </p:txBody>
        </p:sp>
        <p:sp>
          <p:nvSpPr>
            <p:cNvPr id="24" name="任意多边形 6"/>
            <p:cNvSpPr>
              <a:spLocks/>
            </p:cNvSpPr>
            <p:nvPr/>
          </p:nvSpPr>
          <p:spPr bwMode="auto">
            <a:xfrm>
              <a:off x="2855929" y="4617016"/>
              <a:ext cx="187572" cy="227157"/>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1">
                <a:lumMod val="75000"/>
              </a:schemeClr>
            </a:solidFill>
            <a:ln w="9525">
              <a:noFill/>
              <a:round/>
              <a:headEnd/>
              <a:tailEnd/>
            </a:ln>
          </p:spPr>
          <p:txBody>
            <a:bodyPr anchor="ctr"/>
            <a:lstStyle/>
            <a:p>
              <a:pPr algn="ctr"/>
              <a:endParaRPr/>
            </a:p>
          </p:txBody>
        </p:sp>
        <p:sp>
          <p:nvSpPr>
            <p:cNvPr id="25" name="任意多边形 7"/>
            <p:cNvSpPr>
              <a:spLocks/>
            </p:cNvSpPr>
            <p:nvPr/>
          </p:nvSpPr>
          <p:spPr bwMode="auto">
            <a:xfrm>
              <a:off x="761367" y="4529788"/>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p>
          </p:txBody>
        </p:sp>
        <p:sp>
          <p:nvSpPr>
            <p:cNvPr id="26" name="任意多边形 8"/>
            <p:cNvSpPr>
              <a:spLocks/>
            </p:cNvSpPr>
            <p:nvPr/>
          </p:nvSpPr>
          <p:spPr bwMode="auto">
            <a:xfrm>
              <a:off x="2855929" y="4915045"/>
              <a:ext cx="187572" cy="227157"/>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1">
                <a:lumMod val="75000"/>
              </a:schemeClr>
            </a:solidFill>
            <a:ln w="9525">
              <a:noFill/>
              <a:round/>
              <a:headEnd/>
              <a:tailEnd/>
            </a:ln>
          </p:spPr>
          <p:txBody>
            <a:bodyPr anchor="ctr"/>
            <a:lstStyle/>
            <a:p>
              <a:pPr algn="ctr"/>
              <a:endParaRPr/>
            </a:p>
          </p:txBody>
        </p:sp>
        <p:sp>
          <p:nvSpPr>
            <p:cNvPr id="27" name="任意多边形 9"/>
            <p:cNvSpPr>
              <a:spLocks/>
            </p:cNvSpPr>
            <p:nvPr/>
          </p:nvSpPr>
          <p:spPr bwMode="auto">
            <a:xfrm>
              <a:off x="761367" y="4827817"/>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p>
          </p:txBody>
        </p:sp>
        <p:sp>
          <p:nvSpPr>
            <p:cNvPr id="28" name="椭圆 27"/>
            <p:cNvSpPr/>
            <p:nvPr/>
          </p:nvSpPr>
          <p:spPr bwMode="auto">
            <a:xfrm>
              <a:off x="1526311" y="2096622"/>
              <a:ext cx="750290" cy="697823"/>
            </a:xfrm>
            <a:prstGeom prst="ellipse">
              <a:avLst/>
            </a:prstGeom>
            <a:solidFill>
              <a:schemeClr val="bg1"/>
            </a:solidFill>
            <a:ln w="19050">
              <a:solidFill>
                <a:schemeClr val="bg1"/>
              </a:solidFill>
              <a:round/>
              <a:headEnd/>
              <a:tailEnd/>
            </a:ln>
          </p:spPr>
          <p:txBody>
            <a:bodyPr anchor="ctr"/>
            <a:lstStyle/>
            <a:p>
              <a:pPr algn="ctr"/>
              <a:endParaRPr/>
            </a:p>
          </p:txBody>
        </p:sp>
        <p:sp>
          <p:nvSpPr>
            <p:cNvPr id="43" name="任意多边形 127"/>
            <p:cNvSpPr>
              <a:spLocks/>
            </p:cNvSpPr>
            <p:nvPr/>
          </p:nvSpPr>
          <p:spPr bwMode="auto">
            <a:xfrm>
              <a:off x="1713852" y="2279809"/>
              <a:ext cx="375144" cy="331467"/>
            </a:xfrm>
            <a:custGeom>
              <a:avLst/>
              <a:gdLst>
                <a:gd name="connsiteX0" fmla="*/ 315746 w 375144"/>
                <a:gd name="connsiteY0" fmla="*/ 280584 h 331467"/>
                <a:gd name="connsiteX1" fmla="*/ 324231 w 375144"/>
                <a:gd name="connsiteY1" fmla="*/ 311897 h 331467"/>
                <a:gd name="connsiteX2" fmla="*/ 324231 w 375144"/>
                <a:gd name="connsiteY2" fmla="*/ 292326 h 331467"/>
                <a:gd name="connsiteX3" fmla="*/ 324231 w 375144"/>
                <a:gd name="connsiteY3" fmla="*/ 288412 h 331467"/>
                <a:gd name="connsiteX4" fmla="*/ 328474 w 375144"/>
                <a:gd name="connsiteY4" fmla="*/ 284498 h 331467"/>
                <a:gd name="connsiteX5" fmla="*/ 332717 w 375144"/>
                <a:gd name="connsiteY5" fmla="*/ 288412 h 331467"/>
                <a:gd name="connsiteX6" fmla="*/ 332717 w 375144"/>
                <a:gd name="connsiteY6" fmla="*/ 292326 h 331467"/>
                <a:gd name="connsiteX7" fmla="*/ 336960 w 375144"/>
                <a:gd name="connsiteY7" fmla="*/ 311897 h 331467"/>
                <a:gd name="connsiteX8" fmla="*/ 341202 w 375144"/>
                <a:gd name="connsiteY8" fmla="*/ 280584 h 331467"/>
                <a:gd name="connsiteX9" fmla="*/ 366659 w 375144"/>
                <a:gd name="connsiteY9" fmla="*/ 288412 h 331467"/>
                <a:gd name="connsiteX10" fmla="*/ 375144 w 375144"/>
                <a:gd name="connsiteY10" fmla="*/ 307983 h 331467"/>
                <a:gd name="connsiteX11" fmla="*/ 375144 w 375144"/>
                <a:gd name="connsiteY11" fmla="*/ 327553 h 331467"/>
                <a:gd name="connsiteX12" fmla="*/ 358173 w 375144"/>
                <a:gd name="connsiteY12" fmla="*/ 327553 h 331467"/>
                <a:gd name="connsiteX13" fmla="*/ 358173 w 375144"/>
                <a:gd name="connsiteY13" fmla="*/ 311897 h 331467"/>
                <a:gd name="connsiteX14" fmla="*/ 353930 w 375144"/>
                <a:gd name="connsiteY14" fmla="*/ 307983 h 331467"/>
                <a:gd name="connsiteX15" fmla="*/ 353930 w 375144"/>
                <a:gd name="connsiteY15" fmla="*/ 331467 h 331467"/>
                <a:gd name="connsiteX16" fmla="*/ 328474 w 375144"/>
                <a:gd name="connsiteY16" fmla="*/ 331467 h 331467"/>
                <a:gd name="connsiteX17" fmla="*/ 303018 w 375144"/>
                <a:gd name="connsiteY17" fmla="*/ 331467 h 331467"/>
                <a:gd name="connsiteX18" fmla="*/ 303018 w 375144"/>
                <a:gd name="connsiteY18" fmla="*/ 307983 h 331467"/>
                <a:gd name="connsiteX19" fmla="*/ 298775 w 375144"/>
                <a:gd name="connsiteY19" fmla="*/ 311897 h 331467"/>
                <a:gd name="connsiteX20" fmla="*/ 298775 w 375144"/>
                <a:gd name="connsiteY20" fmla="*/ 331467 h 331467"/>
                <a:gd name="connsiteX21" fmla="*/ 286047 w 375144"/>
                <a:gd name="connsiteY21" fmla="*/ 327553 h 331467"/>
                <a:gd name="connsiteX22" fmla="*/ 286047 w 375144"/>
                <a:gd name="connsiteY22" fmla="*/ 307983 h 331467"/>
                <a:gd name="connsiteX23" fmla="*/ 290290 w 375144"/>
                <a:gd name="connsiteY23" fmla="*/ 288412 h 331467"/>
                <a:gd name="connsiteX24" fmla="*/ 315746 w 375144"/>
                <a:gd name="connsiteY24" fmla="*/ 280584 h 331467"/>
                <a:gd name="connsiteX25" fmla="*/ 329032 w 375144"/>
                <a:gd name="connsiteY25" fmla="*/ 229701 h 331467"/>
                <a:gd name="connsiteX26" fmla="*/ 350134 w 375144"/>
                <a:gd name="connsiteY26" fmla="*/ 249272 h 331467"/>
                <a:gd name="connsiteX27" fmla="*/ 350134 w 375144"/>
                <a:gd name="connsiteY27" fmla="*/ 253186 h 331467"/>
                <a:gd name="connsiteX28" fmla="*/ 345914 w 375144"/>
                <a:gd name="connsiteY28" fmla="*/ 261014 h 331467"/>
                <a:gd name="connsiteX29" fmla="*/ 329032 w 375144"/>
                <a:gd name="connsiteY29" fmla="*/ 280584 h 331467"/>
                <a:gd name="connsiteX30" fmla="*/ 312150 w 375144"/>
                <a:gd name="connsiteY30" fmla="*/ 261014 h 331467"/>
                <a:gd name="connsiteX31" fmla="*/ 307930 w 375144"/>
                <a:gd name="connsiteY31" fmla="*/ 253186 h 331467"/>
                <a:gd name="connsiteX32" fmla="*/ 312150 w 375144"/>
                <a:gd name="connsiteY32" fmla="*/ 249272 h 331467"/>
                <a:gd name="connsiteX33" fmla="*/ 329032 w 375144"/>
                <a:gd name="connsiteY33" fmla="*/ 229701 h 331467"/>
                <a:gd name="connsiteX34" fmla="*/ 315746 w 375144"/>
                <a:gd name="connsiteY34" fmla="*/ 167188 h 331467"/>
                <a:gd name="connsiteX35" fmla="*/ 324231 w 375144"/>
                <a:gd name="connsiteY35" fmla="*/ 198203 h 331467"/>
                <a:gd name="connsiteX36" fmla="*/ 324231 w 375144"/>
                <a:gd name="connsiteY36" fmla="*/ 174942 h 331467"/>
                <a:gd name="connsiteX37" fmla="*/ 324231 w 375144"/>
                <a:gd name="connsiteY37" fmla="*/ 171065 h 331467"/>
                <a:gd name="connsiteX38" fmla="*/ 328474 w 375144"/>
                <a:gd name="connsiteY38" fmla="*/ 167188 h 331467"/>
                <a:gd name="connsiteX39" fmla="*/ 332717 w 375144"/>
                <a:gd name="connsiteY39" fmla="*/ 171065 h 331467"/>
                <a:gd name="connsiteX40" fmla="*/ 332717 w 375144"/>
                <a:gd name="connsiteY40" fmla="*/ 174942 h 331467"/>
                <a:gd name="connsiteX41" fmla="*/ 336960 w 375144"/>
                <a:gd name="connsiteY41" fmla="*/ 198203 h 331467"/>
                <a:gd name="connsiteX42" fmla="*/ 341202 w 375144"/>
                <a:gd name="connsiteY42" fmla="*/ 167188 h 331467"/>
                <a:gd name="connsiteX43" fmla="*/ 366659 w 375144"/>
                <a:gd name="connsiteY43" fmla="*/ 174942 h 331467"/>
                <a:gd name="connsiteX44" fmla="*/ 375144 w 375144"/>
                <a:gd name="connsiteY44" fmla="*/ 194326 h 331467"/>
                <a:gd name="connsiteX45" fmla="*/ 375144 w 375144"/>
                <a:gd name="connsiteY45" fmla="*/ 213710 h 331467"/>
                <a:gd name="connsiteX46" fmla="*/ 358173 w 375144"/>
                <a:gd name="connsiteY46" fmla="*/ 213710 h 331467"/>
                <a:gd name="connsiteX47" fmla="*/ 358173 w 375144"/>
                <a:gd name="connsiteY47" fmla="*/ 198203 h 331467"/>
                <a:gd name="connsiteX48" fmla="*/ 353930 w 375144"/>
                <a:gd name="connsiteY48" fmla="*/ 190449 h 331467"/>
                <a:gd name="connsiteX49" fmla="*/ 353930 w 375144"/>
                <a:gd name="connsiteY49" fmla="*/ 213710 h 331467"/>
                <a:gd name="connsiteX50" fmla="*/ 328474 w 375144"/>
                <a:gd name="connsiteY50" fmla="*/ 213710 h 331467"/>
                <a:gd name="connsiteX51" fmla="*/ 303018 w 375144"/>
                <a:gd name="connsiteY51" fmla="*/ 213710 h 331467"/>
                <a:gd name="connsiteX52" fmla="*/ 303018 w 375144"/>
                <a:gd name="connsiteY52" fmla="*/ 190449 h 331467"/>
                <a:gd name="connsiteX53" fmla="*/ 298775 w 375144"/>
                <a:gd name="connsiteY53" fmla="*/ 198203 h 331467"/>
                <a:gd name="connsiteX54" fmla="*/ 298775 w 375144"/>
                <a:gd name="connsiteY54" fmla="*/ 213710 h 331467"/>
                <a:gd name="connsiteX55" fmla="*/ 286047 w 375144"/>
                <a:gd name="connsiteY55" fmla="*/ 213710 h 331467"/>
                <a:gd name="connsiteX56" fmla="*/ 286047 w 375144"/>
                <a:gd name="connsiteY56" fmla="*/ 194326 h 331467"/>
                <a:gd name="connsiteX57" fmla="*/ 290290 w 375144"/>
                <a:gd name="connsiteY57" fmla="*/ 174942 h 331467"/>
                <a:gd name="connsiteX58" fmla="*/ 315746 w 375144"/>
                <a:gd name="connsiteY58" fmla="*/ 167188 h 331467"/>
                <a:gd name="connsiteX59" fmla="*/ 329032 w 375144"/>
                <a:gd name="connsiteY59" fmla="*/ 116304 h 331467"/>
                <a:gd name="connsiteX60" fmla="*/ 350134 w 375144"/>
                <a:gd name="connsiteY60" fmla="*/ 135688 h 331467"/>
                <a:gd name="connsiteX61" fmla="*/ 350134 w 375144"/>
                <a:gd name="connsiteY61" fmla="*/ 139565 h 331467"/>
                <a:gd name="connsiteX62" fmla="*/ 345914 w 375144"/>
                <a:gd name="connsiteY62" fmla="*/ 147319 h 331467"/>
                <a:gd name="connsiteX63" fmla="*/ 329032 w 375144"/>
                <a:gd name="connsiteY63" fmla="*/ 162826 h 331467"/>
                <a:gd name="connsiteX64" fmla="*/ 312150 w 375144"/>
                <a:gd name="connsiteY64" fmla="*/ 147319 h 331467"/>
                <a:gd name="connsiteX65" fmla="*/ 307930 w 375144"/>
                <a:gd name="connsiteY65" fmla="*/ 139565 h 331467"/>
                <a:gd name="connsiteX66" fmla="*/ 312150 w 375144"/>
                <a:gd name="connsiteY66" fmla="*/ 135688 h 331467"/>
                <a:gd name="connsiteX67" fmla="*/ 329032 w 375144"/>
                <a:gd name="connsiteY67" fmla="*/ 116304 h 331467"/>
                <a:gd name="connsiteX68" fmla="*/ 50203 w 375144"/>
                <a:gd name="connsiteY68" fmla="*/ 77052 h 331467"/>
                <a:gd name="connsiteX69" fmla="*/ 62754 w 375144"/>
                <a:gd name="connsiteY69" fmla="*/ 116193 h 331467"/>
                <a:gd name="connsiteX70" fmla="*/ 66937 w 375144"/>
                <a:gd name="connsiteY70" fmla="*/ 92708 h 331467"/>
                <a:gd name="connsiteX71" fmla="*/ 62754 w 375144"/>
                <a:gd name="connsiteY71" fmla="*/ 84880 h 331467"/>
                <a:gd name="connsiteX72" fmla="*/ 66937 w 375144"/>
                <a:gd name="connsiteY72" fmla="*/ 80966 h 331467"/>
                <a:gd name="connsiteX73" fmla="*/ 71121 w 375144"/>
                <a:gd name="connsiteY73" fmla="*/ 80966 h 331467"/>
                <a:gd name="connsiteX74" fmla="*/ 79488 w 375144"/>
                <a:gd name="connsiteY74" fmla="*/ 84880 h 331467"/>
                <a:gd name="connsiteX75" fmla="*/ 75305 w 375144"/>
                <a:gd name="connsiteY75" fmla="*/ 92708 h 331467"/>
                <a:gd name="connsiteX76" fmla="*/ 79488 w 375144"/>
                <a:gd name="connsiteY76" fmla="*/ 116193 h 331467"/>
                <a:gd name="connsiteX77" fmla="*/ 92039 w 375144"/>
                <a:gd name="connsiteY77" fmla="*/ 77052 h 331467"/>
                <a:gd name="connsiteX78" fmla="*/ 96222 w 375144"/>
                <a:gd name="connsiteY78" fmla="*/ 80966 h 331467"/>
                <a:gd name="connsiteX79" fmla="*/ 125508 w 375144"/>
                <a:gd name="connsiteY79" fmla="*/ 88794 h 331467"/>
                <a:gd name="connsiteX80" fmla="*/ 142242 w 375144"/>
                <a:gd name="connsiteY80" fmla="*/ 155334 h 331467"/>
                <a:gd name="connsiteX81" fmla="*/ 138058 w 375144"/>
                <a:gd name="connsiteY81" fmla="*/ 194474 h 331467"/>
                <a:gd name="connsiteX82" fmla="*/ 129691 w 375144"/>
                <a:gd name="connsiteY82" fmla="*/ 210131 h 331467"/>
                <a:gd name="connsiteX83" fmla="*/ 117140 w 375144"/>
                <a:gd name="connsiteY83" fmla="*/ 198389 h 331467"/>
                <a:gd name="connsiteX84" fmla="*/ 117140 w 375144"/>
                <a:gd name="connsiteY84" fmla="*/ 155334 h 331467"/>
                <a:gd name="connsiteX85" fmla="*/ 108773 w 375144"/>
                <a:gd name="connsiteY85" fmla="*/ 116193 h 331467"/>
                <a:gd name="connsiteX86" fmla="*/ 108773 w 375144"/>
                <a:gd name="connsiteY86" fmla="*/ 190560 h 331467"/>
                <a:gd name="connsiteX87" fmla="*/ 108773 w 375144"/>
                <a:gd name="connsiteY87" fmla="*/ 198389 h 331467"/>
                <a:gd name="connsiteX88" fmla="*/ 108773 w 375144"/>
                <a:gd name="connsiteY88" fmla="*/ 315811 h 331467"/>
                <a:gd name="connsiteX89" fmla="*/ 92039 w 375144"/>
                <a:gd name="connsiteY89" fmla="*/ 331467 h 331467"/>
                <a:gd name="connsiteX90" fmla="*/ 75305 w 375144"/>
                <a:gd name="connsiteY90" fmla="*/ 315811 h 331467"/>
                <a:gd name="connsiteX91" fmla="*/ 75305 w 375144"/>
                <a:gd name="connsiteY91" fmla="*/ 210131 h 331467"/>
                <a:gd name="connsiteX92" fmla="*/ 66937 w 375144"/>
                <a:gd name="connsiteY92" fmla="*/ 210131 h 331467"/>
                <a:gd name="connsiteX93" fmla="*/ 66937 w 375144"/>
                <a:gd name="connsiteY93" fmla="*/ 315811 h 331467"/>
                <a:gd name="connsiteX94" fmla="*/ 50203 w 375144"/>
                <a:gd name="connsiteY94" fmla="*/ 331467 h 331467"/>
                <a:gd name="connsiteX95" fmla="*/ 33469 w 375144"/>
                <a:gd name="connsiteY95" fmla="*/ 315811 h 331467"/>
                <a:gd name="connsiteX96" fmla="*/ 33469 w 375144"/>
                <a:gd name="connsiteY96" fmla="*/ 198389 h 331467"/>
                <a:gd name="connsiteX97" fmla="*/ 33469 w 375144"/>
                <a:gd name="connsiteY97" fmla="*/ 190560 h 331467"/>
                <a:gd name="connsiteX98" fmla="*/ 33469 w 375144"/>
                <a:gd name="connsiteY98" fmla="*/ 116193 h 331467"/>
                <a:gd name="connsiteX99" fmla="*/ 25101 w 375144"/>
                <a:gd name="connsiteY99" fmla="*/ 155334 h 331467"/>
                <a:gd name="connsiteX100" fmla="*/ 25101 w 375144"/>
                <a:gd name="connsiteY100" fmla="*/ 198389 h 331467"/>
                <a:gd name="connsiteX101" fmla="*/ 12551 w 375144"/>
                <a:gd name="connsiteY101" fmla="*/ 210131 h 331467"/>
                <a:gd name="connsiteX102" fmla="*/ 0 w 375144"/>
                <a:gd name="connsiteY102" fmla="*/ 194474 h 331467"/>
                <a:gd name="connsiteX103" fmla="*/ 0 w 375144"/>
                <a:gd name="connsiteY103" fmla="*/ 155334 h 331467"/>
                <a:gd name="connsiteX104" fmla="*/ 16734 w 375144"/>
                <a:gd name="connsiteY104" fmla="*/ 88794 h 331467"/>
                <a:gd name="connsiteX105" fmla="*/ 41836 w 375144"/>
                <a:gd name="connsiteY105" fmla="*/ 80966 h 331467"/>
                <a:gd name="connsiteX106" fmla="*/ 50203 w 375144"/>
                <a:gd name="connsiteY106" fmla="*/ 77052 h 331467"/>
                <a:gd name="connsiteX107" fmla="*/ 231500 w 375144"/>
                <a:gd name="connsiteY107" fmla="*/ 61060 h 331467"/>
                <a:gd name="connsiteX108" fmla="*/ 265134 w 375144"/>
                <a:gd name="connsiteY108" fmla="*/ 61060 h 331467"/>
                <a:gd name="connsiteX109" fmla="*/ 273542 w 375144"/>
                <a:gd name="connsiteY109" fmla="*/ 64983 h 331467"/>
                <a:gd name="connsiteX110" fmla="*/ 265134 w 375144"/>
                <a:gd name="connsiteY110" fmla="*/ 72829 h 331467"/>
                <a:gd name="connsiteX111" fmla="*/ 231500 w 375144"/>
                <a:gd name="connsiteY111" fmla="*/ 72829 h 331467"/>
                <a:gd name="connsiteX112" fmla="*/ 218888 w 375144"/>
                <a:gd name="connsiteY112" fmla="*/ 76752 h 331467"/>
                <a:gd name="connsiteX113" fmla="*/ 214684 w 375144"/>
                <a:gd name="connsiteY113" fmla="*/ 88521 h 331467"/>
                <a:gd name="connsiteX114" fmla="*/ 214684 w 375144"/>
                <a:gd name="connsiteY114" fmla="*/ 178749 h 331467"/>
                <a:gd name="connsiteX115" fmla="*/ 265134 w 375144"/>
                <a:gd name="connsiteY115" fmla="*/ 178749 h 331467"/>
                <a:gd name="connsiteX116" fmla="*/ 273542 w 375144"/>
                <a:gd name="connsiteY116" fmla="*/ 182672 h 331467"/>
                <a:gd name="connsiteX117" fmla="*/ 265134 w 375144"/>
                <a:gd name="connsiteY117" fmla="*/ 190518 h 331467"/>
                <a:gd name="connsiteX118" fmla="*/ 214684 w 375144"/>
                <a:gd name="connsiteY118" fmla="*/ 190518 h 331467"/>
                <a:gd name="connsiteX119" fmla="*/ 214684 w 375144"/>
                <a:gd name="connsiteY119" fmla="*/ 280745 h 331467"/>
                <a:gd name="connsiteX120" fmla="*/ 218888 w 375144"/>
                <a:gd name="connsiteY120" fmla="*/ 292514 h 331467"/>
                <a:gd name="connsiteX121" fmla="*/ 231500 w 375144"/>
                <a:gd name="connsiteY121" fmla="*/ 296437 h 331467"/>
                <a:gd name="connsiteX122" fmla="*/ 265134 w 375144"/>
                <a:gd name="connsiteY122" fmla="*/ 296437 h 331467"/>
                <a:gd name="connsiteX123" fmla="*/ 273542 w 375144"/>
                <a:gd name="connsiteY123" fmla="*/ 300360 h 331467"/>
                <a:gd name="connsiteX124" fmla="*/ 265134 w 375144"/>
                <a:gd name="connsiteY124" fmla="*/ 308206 h 331467"/>
                <a:gd name="connsiteX125" fmla="*/ 231500 w 375144"/>
                <a:gd name="connsiteY125" fmla="*/ 308206 h 331467"/>
                <a:gd name="connsiteX126" fmla="*/ 202071 w 375144"/>
                <a:gd name="connsiteY126" fmla="*/ 280745 h 331467"/>
                <a:gd name="connsiteX127" fmla="*/ 202071 w 375144"/>
                <a:gd name="connsiteY127" fmla="*/ 190518 h 331467"/>
                <a:gd name="connsiteX128" fmla="*/ 160029 w 375144"/>
                <a:gd name="connsiteY128" fmla="*/ 190518 h 331467"/>
                <a:gd name="connsiteX129" fmla="*/ 151621 w 375144"/>
                <a:gd name="connsiteY129" fmla="*/ 182672 h 331467"/>
                <a:gd name="connsiteX130" fmla="*/ 160029 w 375144"/>
                <a:gd name="connsiteY130" fmla="*/ 178749 h 331467"/>
                <a:gd name="connsiteX131" fmla="*/ 202071 w 375144"/>
                <a:gd name="connsiteY131" fmla="*/ 178749 h 331467"/>
                <a:gd name="connsiteX132" fmla="*/ 202071 w 375144"/>
                <a:gd name="connsiteY132" fmla="*/ 88521 h 331467"/>
                <a:gd name="connsiteX133" fmla="*/ 231500 w 375144"/>
                <a:gd name="connsiteY133" fmla="*/ 61060 h 331467"/>
                <a:gd name="connsiteX134" fmla="*/ 315746 w 375144"/>
                <a:gd name="connsiteY134" fmla="*/ 49429 h 331467"/>
                <a:gd name="connsiteX135" fmla="*/ 324231 w 375144"/>
                <a:gd name="connsiteY135" fmla="*/ 80742 h 331467"/>
                <a:gd name="connsiteX136" fmla="*/ 324231 w 375144"/>
                <a:gd name="connsiteY136" fmla="*/ 61171 h 331467"/>
                <a:gd name="connsiteX137" fmla="*/ 324231 w 375144"/>
                <a:gd name="connsiteY137" fmla="*/ 57257 h 331467"/>
                <a:gd name="connsiteX138" fmla="*/ 328474 w 375144"/>
                <a:gd name="connsiteY138" fmla="*/ 53343 h 331467"/>
                <a:gd name="connsiteX139" fmla="*/ 332717 w 375144"/>
                <a:gd name="connsiteY139" fmla="*/ 57257 h 331467"/>
                <a:gd name="connsiteX140" fmla="*/ 332717 w 375144"/>
                <a:gd name="connsiteY140" fmla="*/ 61171 h 331467"/>
                <a:gd name="connsiteX141" fmla="*/ 336960 w 375144"/>
                <a:gd name="connsiteY141" fmla="*/ 80742 h 331467"/>
                <a:gd name="connsiteX142" fmla="*/ 341202 w 375144"/>
                <a:gd name="connsiteY142" fmla="*/ 49429 h 331467"/>
                <a:gd name="connsiteX143" fmla="*/ 341202 w 375144"/>
                <a:gd name="connsiteY143" fmla="*/ 53343 h 331467"/>
                <a:gd name="connsiteX144" fmla="*/ 366659 w 375144"/>
                <a:gd name="connsiteY144" fmla="*/ 61171 h 331467"/>
                <a:gd name="connsiteX145" fmla="*/ 375144 w 375144"/>
                <a:gd name="connsiteY145" fmla="*/ 76828 h 331467"/>
                <a:gd name="connsiteX146" fmla="*/ 375144 w 375144"/>
                <a:gd name="connsiteY146" fmla="*/ 96398 h 331467"/>
                <a:gd name="connsiteX147" fmla="*/ 358173 w 375144"/>
                <a:gd name="connsiteY147" fmla="*/ 100312 h 331467"/>
                <a:gd name="connsiteX148" fmla="*/ 358173 w 375144"/>
                <a:gd name="connsiteY148" fmla="*/ 80742 h 331467"/>
                <a:gd name="connsiteX149" fmla="*/ 353930 w 375144"/>
                <a:gd name="connsiteY149" fmla="*/ 76828 h 331467"/>
                <a:gd name="connsiteX150" fmla="*/ 353930 w 375144"/>
                <a:gd name="connsiteY150" fmla="*/ 100312 h 331467"/>
                <a:gd name="connsiteX151" fmla="*/ 328474 w 375144"/>
                <a:gd name="connsiteY151" fmla="*/ 100312 h 331467"/>
                <a:gd name="connsiteX152" fmla="*/ 303018 w 375144"/>
                <a:gd name="connsiteY152" fmla="*/ 100312 h 331467"/>
                <a:gd name="connsiteX153" fmla="*/ 303018 w 375144"/>
                <a:gd name="connsiteY153" fmla="*/ 76828 h 331467"/>
                <a:gd name="connsiteX154" fmla="*/ 298775 w 375144"/>
                <a:gd name="connsiteY154" fmla="*/ 80742 h 331467"/>
                <a:gd name="connsiteX155" fmla="*/ 298775 w 375144"/>
                <a:gd name="connsiteY155" fmla="*/ 100312 h 331467"/>
                <a:gd name="connsiteX156" fmla="*/ 286047 w 375144"/>
                <a:gd name="connsiteY156" fmla="*/ 96398 h 331467"/>
                <a:gd name="connsiteX157" fmla="*/ 286047 w 375144"/>
                <a:gd name="connsiteY157" fmla="*/ 76828 h 331467"/>
                <a:gd name="connsiteX158" fmla="*/ 290290 w 375144"/>
                <a:gd name="connsiteY158" fmla="*/ 61171 h 331467"/>
                <a:gd name="connsiteX159" fmla="*/ 315746 w 375144"/>
                <a:gd name="connsiteY159" fmla="*/ 53343 h 331467"/>
                <a:gd name="connsiteX160" fmla="*/ 315746 w 375144"/>
                <a:gd name="connsiteY160" fmla="*/ 49429 h 331467"/>
                <a:gd name="connsiteX161" fmla="*/ 71121 w 375144"/>
                <a:gd name="connsiteY161" fmla="*/ 2908 h 331467"/>
                <a:gd name="connsiteX162" fmla="*/ 100527 w 375144"/>
                <a:gd name="connsiteY162" fmla="*/ 30611 h 331467"/>
                <a:gd name="connsiteX163" fmla="*/ 104728 w 375144"/>
                <a:gd name="connsiteY163" fmla="*/ 38526 h 331467"/>
                <a:gd name="connsiteX164" fmla="*/ 100527 w 375144"/>
                <a:gd name="connsiteY164" fmla="*/ 50399 h 331467"/>
                <a:gd name="connsiteX165" fmla="*/ 71121 w 375144"/>
                <a:gd name="connsiteY165" fmla="*/ 74144 h 331467"/>
                <a:gd name="connsiteX166" fmla="*/ 41715 w 375144"/>
                <a:gd name="connsiteY166" fmla="*/ 50399 h 331467"/>
                <a:gd name="connsiteX167" fmla="*/ 37514 w 375144"/>
                <a:gd name="connsiteY167" fmla="*/ 38526 h 331467"/>
                <a:gd name="connsiteX168" fmla="*/ 41715 w 375144"/>
                <a:gd name="connsiteY168" fmla="*/ 30611 h 331467"/>
                <a:gd name="connsiteX169" fmla="*/ 71121 w 375144"/>
                <a:gd name="connsiteY169" fmla="*/ 2908 h 331467"/>
                <a:gd name="connsiteX170" fmla="*/ 329032 w 375144"/>
                <a:gd name="connsiteY170" fmla="*/ 0 h 331467"/>
                <a:gd name="connsiteX171" fmla="*/ 350134 w 375144"/>
                <a:gd name="connsiteY171" fmla="*/ 19011 h 331467"/>
                <a:gd name="connsiteX172" fmla="*/ 350134 w 375144"/>
                <a:gd name="connsiteY172" fmla="*/ 22813 h 331467"/>
                <a:gd name="connsiteX173" fmla="*/ 345914 w 375144"/>
                <a:gd name="connsiteY173" fmla="*/ 30418 h 331467"/>
                <a:gd name="connsiteX174" fmla="*/ 329032 w 375144"/>
                <a:gd name="connsiteY174" fmla="*/ 49429 h 331467"/>
                <a:gd name="connsiteX175" fmla="*/ 312150 w 375144"/>
                <a:gd name="connsiteY175" fmla="*/ 30418 h 331467"/>
                <a:gd name="connsiteX176" fmla="*/ 307930 w 375144"/>
                <a:gd name="connsiteY176" fmla="*/ 22813 h 331467"/>
                <a:gd name="connsiteX177" fmla="*/ 312150 w 375144"/>
                <a:gd name="connsiteY177" fmla="*/ 19011 h 331467"/>
                <a:gd name="connsiteX178" fmla="*/ 329032 w 375144"/>
                <a:gd name="connsiteY178" fmla="*/ 0 h 33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75144" h="331467">
                  <a:moveTo>
                    <a:pt x="315746" y="280584"/>
                  </a:moveTo>
                  <a:cubicBezTo>
                    <a:pt x="315746" y="284498"/>
                    <a:pt x="324231" y="311897"/>
                    <a:pt x="324231" y="311897"/>
                  </a:cubicBezTo>
                  <a:cubicBezTo>
                    <a:pt x="324231" y="311897"/>
                    <a:pt x="324231" y="311897"/>
                    <a:pt x="324231" y="292326"/>
                  </a:cubicBezTo>
                  <a:cubicBezTo>
                    <a:pt x="324231" y="292326"/>
                    <a:pt x="324231" y="292326"/>
                    <a:pt x="324231" y="288412"/>
                  </a:cubicBezTo>
                  <a:cubicBezTo>
                    <a:pt x="324231" y="288412"/>
                    <a:pt x="324231" y="288412"/>
                    <a:pt x="328474" y="284498"/>
                  </a:cubicBezTo>
                  <a:cubicBezTo>
                    <a:pt x="328474" y="284498"/>
                    <a:pt x="328474" y="284498"/>
                    <a:pt x="332717" y="288412"/>
                  </a:cubicBezTo>
                  <a:cubicBezTo>
                    <a:pt x="332717" y="288412"/>
                    <a:pt x="332717" y="288412"/>
                    <a:pt x="332717" y="292326"/>
                  </a:cubicBezTo>
                  <a:cubicBezTo>
                    <a:pt x="332717" y="292326"/>
                    <a:pt x="332717" y="292326"/>
                    <a:pt x="336960" y="311897"/>
                  </a:cubicBezTo>
                  <a:cubicBezTo>
                    <a:pt x="336960" y="311897"/>
                    <a:pt x="341202" y="284498"/>
                    <a:pt x="341202" y="280584"/>
                  </a:cubicBezTo>
                  <a:cubicBezTo>
                    <a:pt x="349688" y="284498"/>
                    <a:pt x="358173" y="288412"/>
                    <a:pt x="366659" y="288412"/>
                  </a:cubicBezTo>
                  <a:cubicBezTo>
                    <a:pt x="366659" y="292326"/>
                    <a:pt x="370901" y="296240"/>
                    <a:pt x="375144" y="307983"/>
                  </a:cubicBezTo>
                  <a:cubicBezTo>
                    <a:pt x="375144" y="307983"/>
                    <a:pt x="375144" y="319725"/>
                    <a:pt x="375144" y="327553"/>
                  </a:cubicBezTo>
                  <a:cubicBezTo>
                    <a:pt x="366659" y="327553"/>
                    <a:pt x="362416" y="327553"/>
                    <a:pt x="358173" y="327553"/>
                  </a:cubicBezTo>
                  <a:cubicBezTo>
                    <a:pt x="358173" y="323639"/>
                    <a:pt x="358173" y="315811"/>
                    <a:pt x="358173" y="311897"/>
                  </a:cubicBezTo>
                  <a:cubicBezTo>
                    <a:pt x="358173" y="311897"/>
                    <a:pt x="358173" y="307983"/>
                    <a:pt x="353930" y="307983"/>
                  </a:cubicBezTo>
                  <a:cubicBezTo>
                    <a:pt x="353930" y="307983"/>
                    <a:pt x="353930" y="307983"/>
                    <a:pt x="353930" y="331467"/>
                  </a:cubicBezTo>
                  <a:cubicBezTo>
                    <a:pt x="345445" y="331467"/>
                    <a:pt x="336960" y="331467"/>
                    <a:pt x="328474" y="331467"/>
                  </a:cubicBezTo>
                  <a:cubicBezTo>
                    <a:pt x="319989" y="331467"/>
                    <a:pt x="311503" y="331467"/>
                    <a:pt x="303018" y="331467"/>
                  </a:cubicBezTo>
                  <a:cubicBezTo>
                    <a:pt x="303018" y="331467"/>
                    <a:pt x="303018" y="331467"/>
                    <a:pt x="303018" y="307983"/>
                  </a:cubicBezTo>
                  <a:cubicBezTo>
                    <a:pt x="303018" y="307983"/>
                    <a:pt x="298775" y="311897"/>
                    <a:pt x="298775" y="311897"/>
                  </a:cubicBezTo>
                  <a:cubicBezTo>
                    <a:pt x="298775" y="315811"/>
                    <a:pt x="298775" y="323639"/>
                    <a:pt x="298775" y="331467"/>
                  </a:cubicBezTo>
                  <a:cubicBezTo>
                    <a:pt x="294532" y="327553"/>
                    <a:pt x="290290" y="327553"/>
                    <a:pt x="286047" y="327553"/>
                  </a:cubicBezTo>
                  <a:cubicBezTo>
                    <a:pt x="286047" y="319725"/>
                    <a:pt x="286047" y="307983"/>
                    <a:pt x="286047" y="307983"/>
                  </a:cubicBezTo>
                  <a:cubicBezTo>
                    <a:pt x="286047" y="296240"/>
                    <a:pt x="290290" y="292326"/>
                    <a:pt x="290290" y="288412"/>
                  </a:cubicBezTo>
                  <a:cubicBezTo>
                    <a:pt x="298775" y="288412"/>
                    <a:pt x="311503" y="284498"/>
                    <a:pt x="315746" y="280584"/>
                  </a:cubicBezTo>
                  <a:close/>
                  <a:moveTo>
                    <a:pt x="329032" y="229701"/>
                  </a:moveTo>
                  <a:cubicBezTo>
                    <a:pt x="341693" y="229701"/>
                    <a:pt x="350134" y="237529"/>
                    <a:pt x="350134" y="249272"/>
                  </a:cubicBezTo>
                  <a:cubicBezTo>
                    <a:pt x="350134" y="249272"/>
                    <a:pt x="350134" y="253186"/>
                    <a:pt x="350134" y="253186"/>
                  </a:cubicBezTo>
                  <a:cubicBezTo>
                    <a:pt x="350134" y="257100"/>
                    <a:pt x="350134" y="261014"/>
                    <a:pt x="345914" y="261014"/>
                  </a:cubicBezTo>
                  <a:cubicBezTo>
                    <a:pt x="345914" y="272756"/>
                    <a:pt x="337473" y="280584"/>
                    <a:pt x="329032" y="280584"/>
                  </a:cubicBezTo>
                  <a:cubicBezTo>
                    <a:pt x="320591" y="280584"/>
                    <a:pt x="316371" y="272756"/>
                    <a:pt x="312150" y="261014"/>
                  </a:cubicBezTo>
                  <a:cubicBezTo>
                    <a:pt x="307930" y="261014"/>
                    <a:pt x="307930" y="257100"/>
                    <a:pt x="307930" y="253186"/>
                  </a:cubicBezTo>
                  <a:cubicBezTo>
                    <a:pt x="307930" y="253186"/>
                    <a:pt x="307930" y="249272"/>
                    <a:pt x="312150" y="249272"/>
                  </a:cubicBezTo>
                  <a:cubicBezTo>
                    <a:pt x="312150" y="237529"/>
                    <a:pt x="320591" y="229701"/>
                    <a:pt x="329032" y="229701"/>
                  </a:cubicBezTo>
                  <a:close/>
                  <a:moveTo>
                    <a:pt x="315746" y="167188"/>
                  </a:moveTo>
                  <a:cubicBezTo>
                    <a:pt x="315746" y="171065"/>
                    <a:pt x="324231" y="198203"/>
                    <a:pt x="324231" y="198203"/>
                  </a:cubicBezTo>
                  <a:cubicBezTo>
                    <a:pt x="324231" y="198203"/>
                    <a:pt x="324231" y="198203"/>
                    <a:pt x="324231" y="174942"/>
                  </a:cubicBezTo>
                  <a:cubicBezTo>
                    <a:pt x="324231" y="174942"/>
                    <a:pt x="324231" y="174942"/>
                    <a:pt x="324231" y="171065"/>
                  </a:cubicBezTo>
                  <a:cubicBezTo>
                    <a:pt x="324231" y="171065"/>
                    <a:pt x="324231" y="171065"/>
                    <a:pt x="328474" y="167188"/>
                  </a:cubicBezTo>
                  <a:cubicBezTo>
                    <a:pt x="328474" y="167188"/>
                    <a:pt x="328474" y="167188"/>
                    <a:pt x="332717" y="171065"/>
                  </a:cubicBezTo>
                  <a:cubicBezTo>
                    <a:pt x="332717" y="171065"/>
                    <a:pt x="332717" y="171065"/>
                    <a:pt x="332717" y="174942"/>
                  </a:cubicBezTo>
                  <a:cubicBezTo>
                    <a:pt x="332717" y="174942"/>
                    <a:pt x="332717" y="174942"/>
                    <a:pt x="336960" y="198203"/>
                  </a:cubicBezTo>
                  <a:cubicBezTo>
                    <a:pt x="336960" y="198203"/>
                    <a:pt x="341202" y="171065"/>
                    <a:pt x="341202" y="167188"/>
                  </a:cubicBezTo>
                  <a:cubicBezTo>
                    <a:pt x="349688" y="167188"/>
                    <a:pt x="358173" y="171065"/>
                    <a:pt x="366659" y="174942"/>
                  </a:cubicBezTo>
                  <a:cubicBezTo>
                    <a:pt x="366659" y="178819"/>
                    <a:pt x="370901" y="178819"/>
                    <a:pt x="375144" y="194326"/>
                  </a:cubicBezTo>
                  <a:cubicBezTo>
                    <a:pt x="375144" y="194326"/>
                    <a:pt x="375144" y="205956"/>
                    <a:pt x="375144" y="213710"/>
                  </a:cubicBezTo>
                  <a:cubicBezTo>
                    <a:pt x="366659" y="213710"/>
                    <a:pt x="362416" y="213710"/>
                    <a:pt x="358173" y="213710"/>
                  </a:cubicBezTo>
                  <a:cubicBezTo>
                    <a:pt x="358173" y="209833"/>
                    <a:pt x="358173" y="198203"/>
                    <a:pt x="358173" y="198203"/>
                  </a:cubicBezTo>
                  <a:cubicBezTo>
                    <a:pt x="358173" y="194326"/>
                    <a:pt x="358173" y="194326"/>
                    <a:pt x="353930" y="190449"/>
                  </a:cubicBezTo>
                  <a:cubicBezTo>
                    <a:pt x="353930" y="190449"/>
                    <a:pt x="353930" y="190449"/>
                    <a:pt x="353930" y="213710"/>
                  </a:cubicBezTo>
                  <a:cubicBezTo>
                    <a:pt x="345445" y="213710"/>
                    <a:pt x="336960" y="213710"/>
                    <a:pt x="328474" y="213710"/>
                  </a:cubicBezTo>
                  <a:cubicBezTo>
                    <a:pt x="319989" y="213710"/>
                    <a:pt x="311503" y="213710"/>
                    <a:pt x="303018" y="213710"/>
                  </a:cubicBezTo>
                  <a:cubicBezTo>
                    <a:pt x="303018" y="213710"/>
                    <a:pt x="303018" y="213710"/>
                    <a:pt x="303018" y="190449"/>
                  </a:cubicBezTo>
                  <a:cubicBezTo>
                    <a:pt x="303018" y="194326"/>
                    <a:pt x="298775" y="194326"/>
                    <a:pt x="298775" y="198203"/>
                  </a:cubicBezTo>
                  <a:cubicBezTo>
                    <a:pt x="298775" y="198203"/>
                    <a:pt x="298775" y="209833"/>
                    <a:pt x="298775" y="213710"/>
                  </a:cubicBezTo>
                  <a:cubicBezTo>
                    <a:pt x="294532" y="213710"/>
                    <a:pt x="290290" y="213710"/>
                    <a:pt x="286047" y="213710"/>
                  </a:cubicBezTo>
                  <a:cubicBezTo>
                    <a:pt x="286047" y="205956"/>
                    <a:pt x="286047" y="194326"/>
                    <a:pt x="286047" y="194326"/>
                  </a:cubicBezTo>
                  <a:cubicBezTo>
                    <a:pt x="286047" y="178819"/>
                    <a:pt x="290290" y="178819"/>
                    <a:pt x="290290" y="174942"/>
                  </a:cubicBezTo>
                  <a:cubicBezTo>
                    <a:pt x="298775" y="171065"/>
                    <a:pt x="311503" y="167188"/>
                    <a:pt x="315746" y="167188"/>
                  </a:cubicBezTo>
                  <a:close/>
                  <a:moveTo>
                    <a:pt x="329032" y="116304"/>
                  </a:moveTo>
                  <a:cubicBezTo>
                    <a:pt x="341693" y="116304"/>
                    <a:pt x="350134" y="124058"/>
                    <a:pt x="350134" y="135688"/>
                  </a:cubicBezTo>
                  <a:cubicBezTo>
                    <a:pt x="350134" y="135688"/>
                    <a:pt x="350134" y="135688"/>
                    <a:pt x="350134" y="139565"/>
                  </a:cubicBezTo>
                  <a:cubicBezTo>
                    <a:pt x="350134" y="139565"/>
                    <a:pt x="350134" y="143442"/>
                    <a:pt x="345914" y="147319"/>
                  </a:cubicBezTo>
                  <a:cubicBezTo>
                    <a:pt x="345914" y="155072"/>
                    <a:pt x="337473" y="162826"/>
                    <a:pt x="329032" y="162826"/>
                  </a:cubicBezTo>
                  <a:cubicBezTo>
                    <a:pt x="320591" y="162826"/>
                    <a:pt x="316371" y="155072"/>
                    <a:pt x="312150" y="147319"/>
                  </a:cubicBezTo>
                  <a:cubicBezTo>
                    <a:pt x="307930" y="147319"/>
                    <a:pt x="307930" y="143442"/>
                    <a:pt x="307930" y="139565"/>
                  </a:cubicBezTo>
                  <a:cubicBezTo>
                    <a:pt x="307930" y="135688"/>
                    <a:pt x="307930" y="135688"/>
                    <a:pt x="312150" y="135688"/>
                  </a:cubicBezTo>
                  <a:cubicBezTo>
                    <a:pt x="312150" y="124058"/>
                    <a:pt x="320591" y="116304"/>
                    <a:pt x="329032" y="116304"/>
                  </a:cubicBezTo>
                  <a:close/>
                  <a:moveTo>
                    <a:pt x="50203" y="77052"/>
                  </a:moveTo>
                  <a:cubicBezTo>
                    <a:pt x="50203" y="84880"/>
                    <a:pt x="54387" y="96623"/>
                    <a:pt x="62754" y="116193"/>
                  </a:cubicBezTo>
                  <a:cubicBezTo>
                    <a:pt x="62754" y="104451"/>
                    <a:pt x="66937" y="92708"/>
                    <a:pt x="66937" y="92708"/>
                  </a:cubicBezTo>
                  <a:cubicBezTo>
                    <a:pt x="66937" y="92708"/>
                    <a:pt x="66937" y="92708"/>
                    <a:pt x="62754" y="84880"/>
                  </a:cubicBezTo>
                  <a:cubicBezTo>
                    <a:pt x="62754" y="84880"/>
                    <a:pt x="62754" y="84880"/>
                    <a:pt x="66937" y="80966"/>
                  </a:cubicBezTo>
                  <a:cubicBezTo>
                    <a:pt x="66937" y="80966"/>
                    <a:pt x="66937" y="80966"/>
                    <a:pt x="71121" y="80966"/>
                  </a:cubicBezTo>
                  <a:cubicBezTo>
                    <a:pt x="71121" y="80966"/>
                    <a:pt x="71121" y="80966"/>
                    <a:pt x="79488" y="84880"/>
                  </a:cubicBezTo>
                  <a:cubicBezTo>
                    <a:pt x="79488" y="84880"/>
                    <a:pt x="79488" y="84880"/>
                    <a:pt x="75305" y="92708"/>
                  </a:cubicBezTo>
                  <a:cubicBezTo>
                    <a:pt x="75305" y="92708"/>
                    <a:pt x="75305" y="104451"/>
                    <a:pt x="79488" y="116193"/>
                  </a:cubicBezTo>
                  <a:cubicBezTo>
                    <a:pt x="87855" y="96623"/>
                    <a:pt x="87855" y="84880"/>
                    <a:pt x="92039" y="77052"/>
                  </a:cubicBezTo>
                  <a:cubicBezTo>
                    <a:pt x="92039" y="77052"/>
                    <a:pt x="96222" y="77052"/>
                    <a:pt x="96222" y="80966"/>
                  </a:cubicBezTo>
                  <a:cubicBezTo>
                    <a:pt x="104590" y="80966"/>
                    <a:pt x="117140" y="84880"/>
                    <a:pt x="125508" y="88794"/>
                  </a:cubicBezTo>
                  <a:cubicBezTo>
                    <a:pt x="125508" y="92708"/>
                    <a:pt x="138058" y="108365"/>
                    <a:pt x="142242" y="155334"/>
                  </a:cubicBezTo>
                  <a:cubicBezTo>
                    <a:pt x="142242" y="167076"/>
                    <a:pt x="138058" y="194474"/>
                    <a:pt x="138058" y="194474"/>
                  </a:cubicBezTo>
                  <a:cubicBezTo>
                    <a:pt x="138058" y="202303"/>
                    <a:pt x="138058" y="210131"/>
                    <a:pt x="129691" y="210131"/>
                  </a:cubicBezTo>
                  <a:cubicBezTo>
                    <a:pt x="121324" y="210131"/>
                    <a:pt x="117140" y="206217"/>
                    <a:pt x="117140" y="198389"/>
                  </a:cubicBezTo>
                  <a:cubicBezTo>
                    <a:pt x="117140" y="198389"/>
                    <a:pt x="117140" y="174904"/>
                    <a:pt x="117140" y="155334"/>
                  </a:cubicBezTo>
                  <a:cubicBezTo>
                    <a:pt x="117140" y="139677"/>
                    <a:pt x="112957" y="116193"/>
                    <a:pt x="108773" y="116193"/>
                  </a:cubicBezTo>
                  <a:cubicBezTo>
                    <a:pt x="108773" y="116193"/>
                    <a:pt x="108773" y="116193"/>
                    <a:pt x="108773" y="190560"/>
                  </a:cubicBezTo>
                  <a:cubicBezTo>
                    <a:pt x="108773" y="194474"/>
                    <a:pt x="108773" y="194474"/>
                    <a:pt x="108773" y="198389"/>
                  </a:cubicBezTo>
                  <a:cubicBezTo>
                    <a:pt x="108773" y="198389"/>
                    <a:pt x="108773" y="198389"/>
                    <a:pt x="108773" y="315811"/>
                  </a:cubicBezTo>
                  <a:cubicBezTo>
                    <a:pt x="108773" y="323639"/>
                    <a:pt x="100406" y="331467"/>
                    <a:pt x="92039" y="331467"/>
                  </a:cubicBezTo>
                  <a:cubicBezTo>
                    <a:pt x="83672" y="331467"/>
                    <a:pt x="75305" y="323639"/>
                    <a:pt x="75305" y="315811"/>
                  </a:cubicBezTo>
                  <a:cubicBezTo>
                    <a:pt x="75305" y="315811"/>
                    <a:pt x="75305" y="315811"/>
                    <a:pt x="75305" y="210131"/>
                  </a:cubicBezTo>
                  <a:cubicBezTo>
                    <a:pt x="75305" y="210131"/>
                    <a:pt x="75305" y="210131"/>
                    <a:pt x="66937" y="210131"/>
                  </a:cubicBezTo>
                  <a:cubicBezTo>
                    <a:pt x="66937" y="210131"/>
                    <a:pt x="66937" y="210131"/>
                    <a:pt x="66937" y="315811"/>
                  </a:cubicBezTo>
                  <a:cubicBezTo>
                    <a:pt x="66937" y="323639"/>
                    <a:pt x="58570" y="331467"/>
                    <a:pt x="50203" y="331467"/>
                  </a:cubicBezTo>
                  <a:cubicBezTo>
                    <a:pt x="41836" y="331467"/>
                    <a:pt x="33469" y="323639"/>
                    <a:pt x="33469" y="315811"/>
                  </a:cubicBezTo>
                  <a:cubicBezTo>
                    <a:pt x="33469" y="315811"/>
                    <a:pt x="33469" y="315811"/>
                    <a:pt x="33469" y="198389"/>
                  </a:cubicBezTo>
                  <a:cubicBezTo>
                    <a:pt x="33469" y="194474"/>
                    <a:pt x="33469" y="194474"/>
                    <a:pt x="33469" y="190560"/>
                  </a:cubicBezTo>
                  <a:cubicBezTo>
                    <a:pt x="33469" y="190560"/>
                    <a:pt x="33469" y="190560"/>
                    <a:pt x="33469" y="116193"/>
                  </a:cubicBezTo>
                  <a:cubicBezTo>
                    <a:pt x="29285" y="116193"/>
                    <a:pt x="25101" y="139677"/>
                    <a:pt x="25101" y="155334"/>
                  </a:cubicBezTo>
                  <a:cubicBezTo>
                    <a:pt x="25101" y="174904"/>
                    <a:pt x="25101" y="198389"/>
                    <a:pt x="25101" y="198389"/>
                  </a:cubicBezTo>
                  <a:cubicBezTo>
                    <a:pt x="25101" y="206217"/>
                    <a:pt x="20918" y="210131"/>
                    <a:pt x="12551" y="210131"/>
                  </a:cubicBezTo>
                  <a:cubicBezTo>
                    <a:pt x="4184" y="210131"/>
                    <a:pt x="4184" y="202303"/>
                    <a:pt x="0" y="194474"/>
                  </a:cubicBezTo>
                  <a:cubicBezTo>
                    <a:pt x="0" y="194474"/>
                    <a:pt x="0" y="167076"/>
                    <a:pt x="0" y="155334"/>
                  </a:cubicBezTo>
                  <a:cubicBezTo>
                    <a:pt x="4184" y="108365"/>
                    <a:pt x="16734" y="92708"/>
                    <a:pt x="16734" y="88794"/>
                  </a:cubicBezTo>
                  <a:cubicBezTo>
                    <a:pt x="25101" y="84880"/>
                    <a:pt x="37652" y="80966"/>
                    <a:pt x="41836" y="80966"/>
                  </a:cubicBezTo>
                  <a:cubicBezTo>
                    <a:pt x="46019" y="77052"/>
                    <a:pt x="50203" y="77052"/>
                    <a:pt x="50203" y="77052"/>
                  </a:cubicBezTo>
                  <a:close/>
                  <a:moveTo>
                    <a:pt x="231500" y="61060"/>
                  </a:moveTo>
                  <a:cubicBezTo>
                    <a:pt x="231500" y="61060"/>
                    <a:pt x="231500" y="61060"/>
                    <a:pt x="265134" y="61060"/>
                  </a:cubicBezTo>
                  <a:cubicBezTo>
                    <a:pt x="269338" y="61060"/>
                    <a:pt x="273542" y="64983"/>
                    <a:pt x="273542" y="64983"/>
                  </a:cubicBezTo>
                  <a:cubicBezTo>
                    <a:pt x="273542" y="68906"/>
                    <a:pt x="269338" y="72829"/>
                    <a:pt x="265134" y="72829"/>
                  </a:cubicBezTo>
                  <a:cubicBezTo>
                    <a:pt x="265134" y="72829"/>
                    <a:pt x="265134" y="72829"/>
                    <a:pt x="231500" y="72829"/>
                  </a:cubicBezTo>
                  <a:cubicBezTo>
                    <a:pt x="227296" y="72829"/>
                    <a:pt x="223092" y="72829"/>
                    <a:pt x="218888" y="76752"/>
                  </a:cubicBezTo>
                  <a:cubicBezTo>
                    <a:pt x="214684" y="80675"/>
                    <a:pt x="214684" y="84598"/>
                    <a:pt x="214684" y="88521"/>
                  </a:cubicBezTo>
                  <a:cubicBezTo>
                    <a:pt x="214684" y="88521"/>
                    <a:pt x="214684" y="88521"/>
                    <a:pt x="214684" y="178749"/>
                  </a:cubicBezTo>
                  <a:cubicBezTo>
                    <a:pt x="214684" y="178749"/>
                    <a:pt x="214684" y="178749"/>
                    <a:pt x="265134" y="178749"/>
                  </a:cubicBezTo>
                  <a:cubicBezTo>
                    <a:pt x="269338" y="178749"/>
                    <a:pt x="273542" y="182672"/>
                    <a:pt x="273542" y="182672"/>
                  </a:cubicBezTo>
                  <a:cubicBezTo>
                    <a:pt x="273542" y="186595"/>
                    <a:pt x="269338" y="190518"/>
                    <a:pt x="265134" y="190518"/>
                  </a:cubicBezTo>
                  <a:cubicBezTo>
                    <a:pt x="265134" y="190518"/>
                    <a:pt x="265134" y="190518"/>
                    <a:pt x="214684" y="190518"/>
                  </a:cubicBezTo>
                  <a:cubicBezTo>
                    <a:pt x="214684" y="190518"/>
                    <a:pt x="214684" y="190518"/>
                    <a:pt x="214684" y="280745"/>
                  </a:cubicBezTo>
                  <a:cubicBezTo>
                    <a:pt x="214684" y="284668"/>
                    <a:pt x="214684" y="288591"/>
                    <a:pt x="218888" y="292514"/>
                  </a:cubicBezTo>
                  <a:cubicBezTo>
                    <a:pt x="223092" y="292514"/>
                    <a:pt x="227296" y="296437"/>
                    <a:pt x="231500" y="296437"/>
                  </a:cubicBezTo>
                  <a:cubicBezTo>
                    <a:pt x="231500" y="296437"/>
                    <a:pt x="231500" y="296437"/>
                    <a:pt x="265134" y="296437"/>
                  </a:cubicBezTo>
                  <a:cubicBezTo>
                    <a:pt x="269338" y="296437"/>
                    <a:pt x="273542" y="296437"/>
                    <a:pt x="273542" y="300360"/>
                  </a:cubicBezTo>
                  <a:cubicBezTo>
                    <a:pt x="273542" y="304283"/>
                    <a:pt x="269338" y="308206"/>
                    <a:pt x="265134" y="308206"/>
                  </a:cubicBezTo>
                  <a:cubicBezTo>
                    <a:pt x="265134" y="308206"/>
                    <a:pt x="265134" y="308206"/>
                    <a:pt x="231500" y="308206"/>
                  </a:cubicBezTo>
                  <a:cubicBezTo>
                    <a:pt x="214684" y="308206"/>
                    <a:pt x="202071" y="296437"/>
                    <a:pt x="202071" y="280745"/>
                  </a:cubicBezTo>
                  <a:cubicBezTo>
                    <a:pt x="202071" y="280745"/>
                    <a:pt x="202071" y="280745"/>
                    <a:pt x="202071" y="190518"/>
                  </a:cubicBezTo>
                  <a:cubicBezTo>
                    <a:pt x="202071" y="190518"/>
                    <a:pt x="202071" y="190518"/>
                    <a:pt x="160029" y="190518"/>
                  </a:cubicBezTo>
                  <a:cubicBezTo>
                    <a:pt x="155825" y="190518"/>
                    <a:pt x="151621" y="186595"/>
                    <a:pt x="151621" y="182672"/>
                  </a:cubicBezTo>
                  <a:cubicBezTo>
                    <a:pt x="151621" y="182672"/>
                    <a:pt x="155825" y="178749"/>
                    <a:pt x="160029" y="178749"/>
                  </a:cubicBezTo>
                  <a:cubicBezTo>
                    <a:pt x="160029" y="178749"/>
                    <a:pt x="160029" y="178749"/>
                    <a:pt x="202071" y="178749"/>
                  </a:cubicBezTo>
                  <a:cubicBezTo>
                    <a:pt x="202071" y="178749"/>
                    <a:pt x="202071" y="178749"/>
                    <a:pt x="202071" y="88521"/>
                  </a:cubicBezTo>
                  <a:cubicBezTo>
                    <a:pt x="202071" y="72829"/>
                    <a:pt x="214684" y="61060"/>
                    <a:pt x="231500" y="61060"/>
                  </a:cubicBezTo>
                  <a:close/>
                  <a:moveTo>
                    <a:pt x="315746" y="49429"/>
                  </a:moveTo>
                  <a:cubicBezTo>
                    <a:pt x="315746" y="57257"/>
                    <a:pt x="324231" y="80742"/>
                    <a:pt x="324231" y="80742"/>
                  </a:cubicBezTo>
                  <a:cubicBezTo>
                    <a:pt x="324231" y="80742"/>
                    <a:pt x="324231" y="80742"/>
                    <a:pt x="324231" y="61171"/>
                  </a:cubicBezTo>
                  <a:cubicBezTo>
                    <a:pt x="324231" y="61171"/>
                    <a:pt x="324231" y="61171"/>
                    <a:pt x="324231" y="57257"/>
                  </a:cubicBezTo>
                  <a:cubicBezTo>
                    <a:pt x="324231" y="57257"/>
                    <a:pt x="324231" y="57257"/>
                    <a:pt x="328474" y="53343"/>
                  </a:cubicBezTo>
                  <a:cubicBezTo>
                    <a:pt x="328474" y="53343"/>
                    <a:pt x="328474" y="53343"/>
                    <a:pt x="332717" y="57257"/>
                  </a:cubicBezTo>
                  <a:cubicBezTo>
                    <a:pt x="332717" y="57257"/>
                    <a:pt x="332717" y="57257"/>
                    <a:pt x="332717" y="61171"/>
                  </a:cubicBezTo>
                  <a:cubicBezTo>
                    <a:pt x="332717" y="61171"/>
                    <a:pt x="332717" y="61171"/>
                    <a:pt x="336960" y="80742"/>
                  </a:cubicBezTo>
                  <a:cubicBezTo>
                    <a:pt x="336960" y="80742"/>
                    <a:pt x="341202" y="57257"/>
                    <a:pt x="341202" y="49429"/>
                  </a:cubicBezTo>
                  <a:cubicBezTo>
                    <a:pt x="341202" y="49429"/>
                    <a:pt x="341202" y="49429"/>
                    <a:pt x="341202" y="53343"/>
                  </a:cubicBezTo>
                  <a:cubicBezTo>
                    <a:pt x="349688" y="53343"/>
                    <a:pt x="358173" y="57257"/>
                    <a:pt x="366659" y="61171"/>
                  </a:cubicBezTo>
                  <a:cubicBezTo>
                    <a:pt x="366659" y="61171"/>
                    <a:pt x="370901" y="65085"/>
                    <a:pt x="375144" y="76828"/>
                  </a:cubicBezTo>
                  <a:cubicBezTo>
                    <a:pt x="375144" y="76828"/>
                    <a:pt x="375144" y="88570"/>
                    <a:pt x="375144" y="96398"/>
                  </a:cubicBezTo>
                  <a:cubicBezTo>
                    <a:pt x="366659" y="96398"/>
                    <a:pt x="362416" y="96398"/>
                    <a:pt x="358173" y="100312"/>
                  </a:cubicBezTo>
                  <a:cubicBezTo>
                    <a:pt x="358173" y="92484"/>
                    <a:pt x="358173" y="84656"/>
                    <a:pt x="358173" y="80742"/>
                  </a:cubicBezTo>
                  <a:cubicBezTo>
                    <a:pt x="358173" y="80742"/>
                    <a:pt x="358173" y="76828"/>
                    <a:pt x="353930" y="76828"/>
                  </a:cubicBezTo>
                  <a:cubicBezTo>
                    <a:pt x="353930" y="76828"/>
                    <a:pt x="353930" y="76828"/>
                    <a:pt x="353930" y="100312"/>
                  </a:cubicBezTo>
                  <a:cubicBezTo>
                    <a:pt x="345445" y="100312"/>
                    <a:pt x="336960" y="100312"/>
                    <a:pt x="328474" y="100312"/>
                  </a:cubicBezTo>
                  <a:cubicBezTo>
                    <a:pt x="319989" y="100312"/>
                    <a:pt x="311503" y="100312"/>
                    <a:pt x="303018" y="100312"/>
                  </a:cubicBezTo>
                  <a:cubicBezTo>
                    <a:pt x="303018" y="100312"/>
                    <a:pt x="303018" y="100312"/>
                    <a:pt x="303018" y="76828"/>
                  </a:cubicBezTo>
                  <a:cubicBezTo>
                    <a:pt x="303018" y="76828"/>
                    <a:pt x="298775" y="80742"/>
                    <a:pt x="298775" y="80742"/>
                  </a:cubicBezTo>
                  <a:cubicBezTo>
                    <a:pt x="298775" y="84656"/>
                    <a:pt x="298775" y="92484"/>
                    <a:pt x="298775" y="100312"/>
                  </a:cubicBezTo>
                  <a:cubicBezTo>
                    <a:pt x="294532" y="96398"/>
                    <a:pt x="290290" y="96398"/>
                    <a:pt x="286047" y="96398"/>
                  </a:cubicBezTo>
                  <a:cubicBezTo>
                    <a:pt x="286047" y="88570"/>
                    <a:pt x="286047" y="76828"/>
                    <a:pt x="286047" y="76828"/>
                  </a:cubicBezTo>
                  <a:cubicBezTo>
                    <a:pt x="286047" y="65085"/>
                    <a:pt x="290290" y="61171"/>
                    <a:pt x="290290" y="61171"/>
                  </a:cubicBezTo>
                  <a:cubicBezTo>
                    <a:pt x="298775" y="57257"/>
                    <a:pt x="311503" y="53343"/>
                    <a:pt x="315746" y="53343"/>
                  </a:cubicBezTo>
                  <a:cubicBezTo>
                    <a:pt x="315746" y="53343"/>
                    <a:pt x="315746" y="53343"/>
                    <a:pt x="315746" y="49429"/>
                  </a:cubicBezTo>
                  <a:close/>
                  <a:moveTo>
                    <a:pt x="71121" y="2908"/>
                  </a:moveTo>
                  <a:cubicBezTo>
                    <a:pt x="87924" y="2908"/>
                    <a:pt x="100527" y="14781"/>
                    <a:pt x="100527" y="30611"/>
                  </a:cubicBezTo>
                  <a:cubicBezTo>
                    <a:pt x="104728" y="34568"/>
                    <a:pt x="104728" y="34568"/>
                    <a:pt x="104728" y="38526"/>
                  </a:cubicBezTo>
                  <a:cubicBezTo>
                    <a:pt x="104728" y="42483"/>
                    <a:pt x="104728" y="46441"/>
                    <a:pt x="100527" y="50399"/>
                  </a:cubicBezTo>
                  <a:cubicBezTo>
                    <a:pt x="96326" y="62271"/>
                    <a:pt x="87924" y="74144"/>
                    <a:pt x="71121" y="74144"/>
                  </a:cubicBezTo>
                  <a:cubicBezTo>
                    <a:pt x="58518" y="74144"/>
                    <a:pt x="45916" y="62271"/>
                    <a:pt x="41715" y="50399"/>
                  </a:cubicBezTo>
                  <a:cubicBezTo>
                    <a:pt x="37514" y="46441"/>
                    <a:pt x="37514" y="42483"/>
                    <a:pt x="37514" y="38526"/>
                  </a:cubicBezTo>
                  <a:cubicBezTo>
                    <a:pt x="37514" y="34568"/>
                    <a:pt x="37514" y="30611"/>
                    <a:pt x="41715" y="30611"/>
                  </a:cubicBezTo>
                  <a:cubicBezTo>
                    <a:pt x="41715" y="14781"/>
                    <a:pt x="54317" y="2908"/>
                    <a:pt x="71121" y="2908"/>
                  </a:cubicBezTo>
                  <a:close/>
                  <a:moveTo>
                    <a:pt x="329032" y="0"/>
                  </a:moveTo>
                  <a:cubicBezTo>
                    <a:pt x="341693" y="0"/>
                    <a:pt x="350134" y="11407"/>
                    <a:pt x="350134" y="19011"/>
                  </a:cubicBezTo>
                  <a:cubicBezTo>
                    <a:pt x="350134" y="22813"/>
                    <a:pt x="350134" y="22813"/>
                    <a:pt x="350134" y="22813"/>
                  </a:cubicBezTo>
                  <a:cubicBezTo>
                    <a:pt x="350134" y="26615"/>
                    <a:pt x="350134" y="30418"/>
                    <a:pt x="345914" y="30418"/>
                  </a:cubicBezTo>
                  <a:cubicBezTo>
                    <a:pt x="345914" y="41824"/>
                    <a:pt x="337473" y="49429"/>
                    <a:pt x="329032" y="49429"/>
                  </a:cubicBezTo>
                  <a:cubicBezTo>
                    <a:pt x="320591" y="49429"/>
                    <a:pt x="316371" y="41824"/>
                    <a:pt x="312150" y="30418"/>
                  </a:cubicBezTo>
                  <a:cubicBezTo>
                    <a:pt x="307930" y="30418"/>
                    <a:pt x="307930" y="26615"/>
                    <a:pt x="307930" y="22813"/>
                  </a:cubicBezTo>
                  <a:cubicBezTo>
                    <a:pt x="307930" y="22813"/>
                    <a:pt x="307930" y="19011"/>
                    <a:pt x="312150" y="19011"/>
                  </a:cubicBezTo>
                  <a:cubicBezTo>
                    <a:pt x="312150" y="7604"/>
                    <a:pt x="320591" y="0"/>
                    <a:pt x="329032" y="0"/>
                  </a:cubicBezTo>
                  <a:close/>
                </a:path>
              </a:pathLst>
            </a:custGeom>
            <a:solidFill>
              <a:schemeClr val="accent1">
                <a:lumMod val="50000"/>
              </a:schemeClr>
            </a:solidFill>
            <a:ln w="9525">
              <a:noFill/>
              <a:round/>
              <a:headEnd/>
              <a:tailEnd/>
            </a:ln>
          </p:spPr>
          <p:txBody>
            <a:bodyPr anchor="ctr"/>
            <a:lstStyle/>
            <a:p>
              <a:pPr algn="ctr"/>
              <a:endParaRPr/>
            </a:p>
          </p:txBody>
        </p:sp>
        <p:sp>
          <p:nvSpPr>
            <p:cNvPr id="44" name="文本框 30"/>
            <p:cNvSpPr txBox="1">
              <a:spLocks/>
            </p:cNvSpPr>
            <p:nvPr/>
          </p:nvSpPr>
          <p:spPr bwMode="auto">
            <a:xfrm>
              <a:off x="766158" y="3145546"/>
              <a:ext cx="2088062" cy="521178"/>
            </a:xfrm>
            <a:prstGeom prst="rect">
              <a:avLst/>
            </a:prstGeom>
            <a:noFill/>
            <a:extLst/>
          </p:spPr>
          <p:txBody>
            <a:bodyPr wrap="none" lIns="0" tIns="0" rIns="0" bIns="0" anchor="ctr" anchorCtr="1">
              <a:normAutofit/>
            </a:bodyPr>
            <a:lstStyle/>
            <a:p>
              <a:pPr latinLnBrk="0"/>
              <a:r>
                <a:rPr lang="zh-CN" altLang="en-US" sz="1400" dirty="0">
                  <a:effectLst/>
                  <a:latin typeface="等线 Light" panose="02010600030101010101" pitchFamily="2" charset="-122"/>
                  <a:ea typeface="等线 Light" panose="02010600030101010101" pitchFamily="2" charset="-122"/>
                </a:rPr>
                <a:t>标题文本预设</a:t>
              </a:r>
            </a:p>
          </p:txBody>
        </p:sp>
        <p:grpSp>
          <p:nvGrpSpPr>
            <p:cNvPr id="45" name="组合 44"/>
            <p:cNvGrpSpPr/>
            <p:nvPr/>
          </p:nvGrpSpPr>
          <p:grpSpPr>
            <a:xfrm>
              <a:off x="2854220" y="1722268"/>
              <a:ext cx="2284087" cy="3836766"/>
              <a:chOff x="2574183" y="1722268"/>
              <a:chExt cx="2284087" cy="3836766"/>
            </a:xfrm>
          </p:grpSpPr>
          <p:sp>
            <p:nvSpPr>
              <p:cNvPr id="84" name="矩形 83"/>
              <p:cNvSpPr/>
              <p:nvPr/>
            </p:nvSpPr>
            <p:spPr bwMode="auto">
              <a:xfrm>
                <a:off x="2574183" y="2609087"/>
                <a:ext cx="2098468" cy="2949947"/>
              </a:xfrm>
              <a:prstGeom prst="rect">
                <a:avLst/>
              </a:prstGeom>
              <a:solidFill>
                <a:schemeClr val="tx2">
                  <a:lumMod val="20000"/>
                  <a:lumOff val="80000"/>
                </a:schemeClr>
              </a:solidFill>
              <a:ln w="57150">
                <a:solidFill>
                  <a:schemeClr val="bg1"/>
                </a:solidFill>
                <a:round/>
                <a:headEnd/>
                <a:tailEnd/>
              </a:ln>
              <a:effectLst/>
            </p:spPr>
            <p:txBody>
              <a:bodyPr vert="horz" wrap="square" lIns="91440" tIns="45720" rIns="91440" bIns="1440000" anchor="b" anchorCtr="1" compatLnSpc="1">
                <a:prstTxWarp prst="textNoShape">
                  <a:avLst/>
                </a:prstTxWarp>
                <a:normAutofit/>
              </a:bodyPr>
              <a:lstStyle/>
              <a:p>
                <a:pPr algn="ctr">
                  <a:lnSpc>
                    <a:spcPct val="120000"/>
                  </a:lnSpc>
                </a:pPr>
                <a:r>
                  <a:rPr lang="zh-CN" altLang="en-US" sz="1100" dirty="0">
                    <a:latin typeface="等线 Light" panose="02010600030101010101" pitchFamily="2" charset="-122"/>
                    <a:ea typeface="等线 Light" panose="02010600030101010101" pitchFamily="2" charset="-122"/>
                  </a:rPr>
                  <a:t>此部分内容作为文字排版占位显示 </a:t>
                </a:r>
                <a:br>
                  <a:rPr lang="zh-CN" altLang="en-US" sz="1100" dirty="0">
                    <a:latin typeface="等线 Light" panose="02010600030101010101" pitchFamily="2" charset="-122"/>
                    <a:ea typeface="等线 Light" panose="02010600030101010101" pitchFamily="2" charset="-122"/>
                  </a:rPr>
                </a:br>
                <a:r>
                  <a:rPr lang="zh-CN" altLang="en-US" sz="1100" dirty="0">
                    <a:latin typeface="等线 Light" panose="02010600030101010101" pitchFamily="2" charset="-122"/>
                    <a:ea typeface="等线 Light" panose="02010600030101010101" pitchFamily="2" charset="-122"/>
                  </a:rPr>
                  <a:t>（建议使用主题字体）</a:t>
                </a:r>
              </a:p>
            </p:txBody>
          </p:sp>
          <p:sp>
            <p:nvSpPr>
              <p:cNvPr id="85" name="任意多边形 12"/>
              <p:cNvSpPr>
                <a:spLocks/>
              </p:cNvSpPr>
              <p:nvPr/>
            </p:nvSpPr>
            <p:spPr bwMode="auto">
              <a:xfrm>
                <a:off x="4670698" y="1809496"/>
                <a:ext cx="187572" cy="1088532"/>
              </a:xfrm>
              <a:custGeom>
                <a:avLst/>
                <a:gdLst/>
                <a:ahLst/>
                <a:cxnLst>
                  <a:cxn ang="0">
                    <a:pos x="54" y="575"/>
                  </a:cxn>
                  <a:cxn ang="0">
                    <a:pos x="54" y="0"/>
                  </a:cxn>
                  <a:cxn ang="0">
                    <a:pos x="0" y="10"/>
                  </a:cxn>
                  <a:cxn ang="0">
                    <a:pos x="0" y="627"/>
                  </a:cxn>
                  <a:cxn ang="0">
                    <a:pos x="54" y="617"/>
                  </a:cxn>
                  <a:cxn ang="0">
                    <a:pos x="54" y="617"/>
                  </a:cxn>
                  <a:cxn ang="0">
                    <a:pos x="80" y="586"/>
                  </a:cxn>
                  <a:cxn ang="0">
                    <a:pos x="54" y="575"/>
                  </a:cxn>
                </a:cxnLst>
                <a:rect l="0" t="0" r="r" b="b"/>
                <a:pathLst>
                  <a:path w="81" h="627">
                    <a:moveTo>
                      <a:pt x="54" y="575"/>
                    </a:moveTo>
                    <a:cubicBezTo>
                      <a:pt x="54" y="0"/>
                      <a:pt x="54" y="0"/>
                      <a:pt x="54" y="0"/>
                    </a:cubicBezTo>
                    <a:cubicBezTo>
                      <a:pt x="0" y="10"/>
                      <a:pt x="0" y="10"/>
                      <a:pt x="0" y="10"/>
                    </a:cubicBezTo>
                    <a:cubicBezTo>
                      <a:pt x="0" y="627"/>
                      <a:pt x="0" y="627"/>
                      <a:pt x="0" y="627"/>
                    </a:cubicBezTo>
                    <a:cubicBezTo>
                      <a:pt x="54" y="617"/>
                      <a:pt x="54" y="617"/>
                      <a:pt x="54" y="617"/>
                    </a:cubicBezTo>
                    <a:cubicBezTo>
                      <a:pt x="54" y="617"/>
                      <a:pt x="54" y="617"/>
                      <a:pt x="54" y="617"/>
                    </a:cubicBezTo>
                    <a:cubicBezTo>
                      <a:pt x="54" y="617"/>
                      <a:pt x="81" y="612"/>
                      <a:pt x="80" y="586"/>
                    </a:cubicBezTo>
                    <a:cubicBezTo>
                      <a:pt x="79" y="567"/>
                      <a:pt x="54" y="575"/>
                      <a:pt x="54" y="575"/>
                    </a:cubicBezTo>
                    <a:close/>
                  </a:path>
                </a:pathLst>
              </a:custGeom>
              <a:solidFill>
                <a:schemeClr val="accent1">
                  <a:lumMod val="75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86" name="任意多边形 13"/>
              <p:cNvSpPr>
                <a:spLocks/>
              </p:cNvSpPr>
              <p:nvPr/>
            </p:nvSpPr>
            <p:spPr bwMode="auto">
              <a:xfrm>
                <a:off x="2576137" y="1722268"/>
                <a:ext cx="2280180" cy="1410185"/>
              </a:xfrm>
              <a:custGeom>
                <a:avLst/>
                <a:gdLst/>
                <a:ahLst/>
                <a:cxnLst>
                  <a:cxn ang="0">
                    <a:pos x="954" y="8"/>
                  </a:cxn>
                  <a:cxn ang="0">
                    <a:pos x="954" y="8"/>
                  </a:cxn>
                  <a:cxn ang="0">
                    <a:pos x="0" y="196"/>
                  </a:cxn>
                  <a:cxn ang="0">
                    <a:pos x="0" y="813"/>
                  </a:cxn>
                  <a:cxn ang="0">
                    <a:pos x="954" y="625"/>
                  </a:cxn>
                  <a:cxn ang="0">
                    <a:pos x="980" y="636"/>
                  </a:cxn>
                  <a:cxn ang="0">
                    <a:pos x="980" y="19"/>
                  </a:cxn>
                  <a:cxn ang="0">
                    <a:pos x="954" y="8"/>
                  </a:cxn>
                </a:cxnLst>
                <a:rect l="0" t="0" r="r" b="b"/>
                <a:pathLst>
                  <a:path w="980" h="813">
                    <a:moveTo>
                      <a:pt x="954" y="8"/>
                    </a:moveTo>
                    <a:cubicBezTo>
                      <a:pt x="954" y="8"/>
                      <a:pt x="954" y="8"/>
                      <a:pt x="954" y="8"/>
                    </a:cubicBezTo>
                    <a:cubicBezTo>
                      <a:pt x="0" y="196"/>
                      <a:pt x="0" y="196"/>
                      <a:pt x="0" y="196"/>
                    </a:cubicBezTo>
                    <a:cubicBezTo>
                      <a:pt x="0" y="813"/>
                      <a:pt x="0" y="813"/>
                      <a:pt x="0" y="813"/>
                    </a:cubicBezTo>
                    <a:cubicBezTo>
                      <a:pt x="954" y="625"/>
                      <a:pt x="954" y="625"/>
                      <a:pt x="954" y="625"/>
                    </a:cubicBezTo>
                    <a:cubicBezTo>
                      <a:pt x="954" y="625"/>
                      <a:pt x="979" y="617"/>
                      <a:pt x="980" y="636"/>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87" name="任意多边形 14"/>
              <p:cNvSpPr>
                <a:spLocks/>
              </p:cNvSpPr>
              <p:nvPr/>
            </p:nvSpPr>
            <p:spPr bwMode="auto">
              <a:xfrm>
                <a:off x="4670698" y="4617016"/>
                <a:ext cx="187572" cy="227157"/>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1">
                  <a:lumMod val="75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88" name="任意多边形 15"/>
              <p:cNvSpPr>
                <a:spLocks/>
              </p:cNvSpPr>
              <p:nvPr/>
            </p:nvSpPr>
            <p:spPr bwMode="auto">
              <a:xfrm>
                <a:off x="2576137" y="4529788"/>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89" name="任意多边形 16"/>
              <p:cNvSpPr>
                <a:spLocks/>
              </p:cNvSpPr>
              <p:nvPr/>
            </p:nvSpPr>
            <p:spPr bwMode="auto">
              <a:xfrm>
                <a:off x="4670698" y="4915045"/>
                <a:ext cx="187572" cy="227157"/>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1">
                  <a:lumMod val="75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90" name="任意多边形 17"/>
              <p:cNvSpPr>
                <a:spLocks/>
              </p:cNvSpPr>
              <p:nvPr/>
            </p:nvSpPr>
            <p:spPr bwMode="auto">
              <a:xfrm>
                <a:off x="2576137" y="4827817"/>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91" name="椭圆 90"/>
              <p:cNvSpPr/>
              <p:nvPr/>
            </p:nvSpPr>
            <p:spPr bwMode="auto">
              <a:xfrm>
                <a:off x="3341082" y="2096622"/>
                <a:ext cx="750290" cy="697823"/>
              </a:xfrm>
              <a:prstGeom prst="ellipse">
                <a:avLst/>
              </a:prstGeom>
              <a:solidFill>
                <a:schemeClr val="bg1"/>
              </a:solidFill>
              <a:ln w="19050">
                <a:solidFill>
                  <a:schemeClr val="accent1">
                    <a:lumMod val="50000"/>
                  </a:schemeClr>
                </a:solid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92" name="任意多边形 126"/>
              <p:cNvSpPr>
                <a:spLocks/>
              </p:cNvSpPr>
              <p:nvPr/>
            </p:nvSpPr>
            <p:spPr bwMode="auto">
              <a:xfrm>
                <a:off x="3531551" y="2278079"/>
                <a:ext cx="369282" cy="334944"/>
              </a:xfrm>
              <a:custGeom>
                <a:avLst/>
                <a:gdLst>
                  <a:gd name="connsiteX0" fmla="*/ 256360 w 369282"/>
                  <a:gd name="connsiteY0" fmla="*/ 303721 h 334944"/>
                  <a:gd name="connsiteX1" fmla="*/ 369282 w 369282"/>
                  <a:gd name="connsiteY1" fmla="*/ 303721 h 334944"/>
                  <a:gd name="connsiteX2" fmla="*/ 369282 w 369282"/>
                  <a:gd name="connsiteY2" fmla="*/ 327138 h 334944"/>
                  <a:gd name="connsiteX3" fmla="*/ 353150 w 369282"/>
                  <a:gd name="connsiteY3" fmla="*/ 334944 h 334944"/>
                  <a:gd name="connsiteX4" fmla="*/ 272492 w 369282"/>
                  <a:gd name="connsiteY4" fmla="*/ 334944 h 334944"/>
                  <a:gd name="connsiteX5" fmla="*/ 256360 w 369282"/>
                  <a:gd name="connsiteY5" fmla="*/ 327138 h 334944"/>
                  <a:gd name="connsiteX6" fmla="*/ 0 w 369282"/>
                  <a:gd name="connsiteY6" fmla="*/ 303721 h 334944"/>
                  <a:gd name="connsiteX7" fmla="*/ 115973 w 369282"/>
                  <a:gd name="connsiteY7" fmla="*/ 303721 h 334944"/>
                  <a:gd name="connsiteX8" fmla="*/ 115973 w 369282"/>
                  <a:gd name="connsiteY8" fmla="*/ 327138 h 334944"/>
                  <a:gd name="connsiteX9" fmla="*/ 99406 w 369282"/>
                  <a:gd name="connsiteY9" fmla="*/ 334944 h 334944"/>
                  <a:gd name="connsiteX10" fmla="*/ 16568 w 369282"/>
                  <a:gd name="connsiteY10" fmla="*/ 334944 h 334944"/>
                  <a:gd name="connsiteX11" fmla="*/ 0 w 369282"/>
                  <a:gd name="connsiteY11" fmla="*/ 327138 h 334944"/>
                  <a:gd name="connsiteX12" fmla="*/ 164803 w 369282"/>
                  <a:gd name="connsiteY12" fmla="*/ 82318 h 334944"/>
                  <a:gd name="connsiteX13" fmla="*/ 204479 w 369282"/>
                  <a:gd name="connsiteY13" fmla="*/ 82318 h 334944"/>
                  <a:gd name="connsiteX14" fmla="*/ 204479 w 369282"/>
                  <a:gd name="connsiteY14" fmla="*/ 227081 h 334944"/>
                  <a:gd name="connsiteX15" fmla="*/ 164803 w 369282"/>
                  <a:gd name="connsiteY15" fmla="*/ 227081 h 334944"/>
                  <a:gd name="connsiteX16" fmla="*/ 222788 w 369282"/>
                  <a:gd name="connsiteY16" fmla="*/ 76641 h 334944"/>
                  <a:gd name="connsiteX17" fmla="*/ 304173 w 369282"/>
                  <a:gd name="connsiteY17" fmla="*/ 76641 h 334944"/>
                  <a:gd name="connsiteX18" fmla="*/ 304173 w 369282"/>
                  <a:gd name="connsiteY18" fmla="*/ 106773 h 334944"/>
                  <a:gd name="connsiteX19" fmla="*/ 336726 w 369282"/>
                  <a:gd name="connsiteY19" fmla="*/ 106773 h 334944"/>
                  <a:gd name="connsiteX20" fmla="*/ 353003 w 369282"/>
                  <a:gd name="connsiteY20" fmla="*/ 121838 h 334944"/>
                  <a:gd name="connsiteX21" fmla="*/ 369280 w 369282"/>
                  <a:gd name="connsiteY21" fmla="*/ 227299 h 334944"/>
                  <a:gd name="connsiteX22" fmla="*/ 369280 w 369282"/>
                  <a:gd name="connsiteY22" fmla="*/ 272497 h 334944"/>
                  <a:gd name="connsiteX23" fmla="*/ 255342 w 369282"/>
                  <a:gd name="connsiteY23" fmla="*/ 272497 h 334944"/>
                  <a:gd name="connsiteX24" fmla="*/ 255342 w 369282"/>
                  <a:gd name="connsiteY24" fmla="*/ 227299 h 334944"/>
                  <a:gd name="connsiteX25" fmla="*/ 222788 w 369282"/>
                  <a:gd name="connsiteY25" fmla="*/ 227299 h 334944"/>
                  <a:gd name="connsiteX26" fmla="*/ 222788 w 369282"/>
                  <a:gd name="connsiteY26" fmla="*/ 84174 h 334944"/>
                  <a:gd name="connsiteX27" fmla="*/ 222788 w 369282"/>
                  <a:gd name="connsiteY27" fmla="*/ 76641 h 334944"/>
                  <a:gd name="connsiteX28" fmla="*/ 65108 w 369282"/>
                  <a:gd name="connsiteY28" fmla="*/ 76641 h 334944"/>
                  <a:gd name="connsiteX29" fmla="*/ 146492 w 369282"/>
                  <a:gd name="connsiteY29" fmla="*/ 76641 h 334944"/>
                  <a:gd name="connsiteX30" fmla="*/ 146492 w 369282"/>
                  <a:gd name="connsiteY30" fmla="*/ 84174 h 334944"/>
                  <a:gd name="connsiteX31" fmla="*/ 146492 w 369282"/>
                  <a:gd name="connsiteY31" fmla="*/ 227299 h 334944"/>
                  <a:gd name="connsiteX32" fmla="*/ 113938 w 369282"/>
                  <a:gd name="connsiteY32" fmla="*/ 227299 h 334944"/>
                  <a:gd name="connsiteX33" fmla="*/ 113938 w 369282"/>
                  <a:gd name="connsiteY33" fmla="*/ 272497 h 334944"/>
                  <a:gd name="connsiteX34" fmla="*/ 0 w 369282"/>
                  <a:gd name="connsiteY34" fmla="*/ 272497 h 334944"/>
                  <a:gd name="connsiteX35" fmla="*/ 0 w 369282"/>
                  <a:gd name="connsiteY35" fmla="*/ 227299 h 334944"/>
                  <a:gd name="connsiteX36" fmla="*/ 16277 w 369282"/>
                  <a:gd name="connsiteY36" fmla="*/ 121838 h 334944"/>
                  <a:gd name="connsiteX37" fmla="*/ 32554 w 369282"/>
                  <a:gd name="connsiteY37" fmla="*/ 106773 h 334944"/>
                  <a:gd name="connsiteX38" fmla="*/ 65108 w 369282"/>
                  <a:gd name="connsiteY38" fmla="*/ 106773 h 334944"/>
                  <a:gd name="connsiteX39" fmla="*/ 65108 w 369282"/>
                  <a:gd name="connsiteY39" fmla="*/ 76641 h 334944"/>
                  <a:gd name="connsiteX40" fmla="*/ 204477 w 369282"/>
                  <a:gd name="connsiteY40" fmla="*/ 0 h 334944"/>
                  <a:gd name="connsiteX41" fmla="*/ 221045 w 369282"/>
                  <a:gd name="connsiteY41" fmla="*/ 0 h 334944"/>
                  <a:gd name="connsiteX42" fmla="*/ 303883 w 369282"/>
                  <a:gd name="connsiteY42" fmla="*/ 0 h 334944"/>
                  <a:gd name="connsiteX43" fmla="*/ 320450 w 369282"/>
                  <a:gd name="connsiteY43" fmla="*/ 0 h 334944"/>
                  <a:gd name="connsiteX44" fmla="*/ 320450 w 369282"/>
                  <a:gd name="connsiteY44" fmla="*/ 46226 h 334944"/>
                  <a:gd name="connsiteX45" fmla="*/ 312166 w 369282"/>
                  <a:gd name="connsiteY45" fmla="*/ 53931 h 334944"/>
                  <a:gd name="connsiteX46" fmla="*/ 212761 w 369282"/>
                  <a:gd name="connsiteY46" fmla="*/ 53931 h 334944"/>
                  <a:gd name="connsiteX47" fmla="*/ 204477 w 369282"/>
                  <a:gd name="connsiteY47" fmla="*/ 46226 h 334944"/>
                  <a:gd name="connsiteX48" fmla="*/ 204477 w 369282"/>
                  <a:gd name="connsiteY48" fmla="*/ 0 h 334944"/>
                  <a:gd name="connsiteX49" fmla="*/ 48831 w 369282"/>
                  <a:gd name="connsiteY49" fmla="*/ 0 h 334944"/>
                  <a:gd name="connsiteX50" fmla="*/ 65399 w 369282"/>
                  <a:gd name="connsiteY50" fmla="*/ 0 h 334944"/>
                  <a:gd name="connsiteX51" fmla="*/ 148237 w 369282"/>
                  <a:gd name="connsiteY51" fmla="*/ 0 h 334944"/>
                  <a:gd name="connsiteX52" fmla="*/ 164804 w 369282"/>
                  <a:gd name="connsiteY52" fmla="*/ 0 h 334944"/>
                  <a:gd name="connsiteX53" fmla="*/ 164804 w 369282"/>
                  <a:gd name="connsiteY53" fmla="*/ 46226 h 334944"/>
                  <a:gd name="connsiteX54" fmla="*/ 156520 w 369282"/>
                  <a:gd name="connsiteY54" fmla="*/ 53931 h 334944"/>
                  <a:gd name="connsiteX55" fmla="*/ 57115 w 369282"/>
                  <a:gd name="connsiteY55" fmla="*/ 53931 h 334944"/>
                  <a:gd name="connsiteX56" fmla="*/ 48831 w 369282"/>
                  <a:gd name="connsiteY56" fmla="*/ 46226 h 334944"/>
                  <a:gd name="connsiteX57" fmla="*/ 48831 w 369282"/>
                  <a:gd name="connsiteY57" fmla="*/ 0 h 33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69282" h="334944">
                    <a:moveTo>
                      <a:pt x="256360" y="303721"/>
                    </a:moveTo>
                    <a:cubicBezTo>
                      <a:pt x="256360" y="303721"/>
                      <a:pt x="256360" y="303721"/>
                      <a:pt x="369282" y="303721"/>
                    </a:cubicBezTo>
                    <a:cubicBezTo>
                      <a:pt x="369282" y="303721"/>
                      <a:pt x="369282" y="303721"/>
                      <a:pt x="369282" y="327138"/>
                    </a:cubicBezTo>
                    <a:cubicBezTo>
                      <a:pt x="369282" y="334944"/>
                      <a:pt x="361216" y="334944"/>
                      <a:pt x="353150" y="334944"/>
                    </a:cubicBezTo>
                    <a:cubicBezTo>
                      <a:pt x="353150" y="334944"/>
                      <a:pt x="353150" y="334944"/>
                      <a:pt x="272492" y="334944"/>
                    </a:cubicBezTo>
                    <a:cubicBezTo>
                      <a:pt x="264426" y="334944"/>
                      <a:pt x="256360" y="334944"/>
                      <a:pt x="256360" y="327138"/>
                    </a:cubicBezTo>
                    <a:close/>
                    <a:moveTo>
                      <a:pt x="0" y="303721"/>
                    </a:moveTo>
                    <a:cubicBezTo>
                      <a:pt x="0" y="303721"/>
                      <a:pt x="0" y="303721"/>
                      <a:pt x="115973" y="303721"/>
                    </a:cubicBezTo>
                    <a:cubicBezTo>
                      <a:pt x="115973" y="303721"/>
                      <a:pt x="115973" y="303721"/>
                      <a:pt x="115973" y="327138"/>
                    </a:cubicBezTo>
                    <a:cubicBezTo>
                      <a:pt x="115973" y="334944"/>
                      <a:pt x="107689" y="334944"/>
                      <a:pt x="99406" y="334944"/>
                    </a:cubicBezTo>
                    <a:cubicBezTo>
                      <a:pt x="99406" y="334944"/>
                      <a:pt x="99406" y="334944"/>
                      <a:pt x="16568" y="334944"/>
                    </a:cubicBezTo>
                    <a:cubicBezTo>
                      <a:pt x="8284" y="334944"/>
                      <a:pt x="0" y="334944"/>
                      <a:pt x="0" y="327138"/>
                    </a:cubicBezTo>
                    <a:close/>
                    <a:moveTo>
                      <a:pt x="164803" y="82318"/>
                    </a:moveTo>
                    <a:lnTo>
                      <a:pt x="204479" y="82318"/>
                    </a:lnTo>
                    <a:lnTo>
                      <a:pt x="204479" y="227081"/>
                    </a:lnTo>
                    <a:lnTo>
                      <a:pt x="164803" y="227081"/>
                    </a:lnTo>
                    <a:close/>
                    <a:moveTo>
                      <a:pt x="222788" y="76641"/>
                    </a:moveTo>
                    <a:cubicBezTo>
                      <a:pt x="222788" y="76641"/>
                      <a:pt x="222788" y="76641"/>
                      <a:pt x="304173" y="76641"/>
                    </a:cubicBezTo>
                    <a:cubicBezTo>
                      <a:pt x="304173" y="76641"/>
                      <a:pt x="304173" y="76641"/>
                      <a:pt x="304173" y="106773"/>
                    </a:cubicBezTo>
                    <a:cubicBezTo>
                      <a:pt x="304173" y="106773"/>
                      <a:pt x="304173" y="106773"/>
                      <a:pt x="336726" y="106773"/>
                    </a:cubicBezTo>
                    <a:cubicBezTo>
                      <a:pt x="344865" y="106773"/>
                      <a:pt x="353003" y="114305"/>
                      <a:pt x="353003" y="121838"/>
                    </a:cubicBezTo>
                    <a:cubicBezTo>
                      <a:pt x="353003" y="121838"/>
                      <a:pt x="353003" y="121838"/>
                      <a:pt x="369280" y="227299"/>
                    </a:cubicBezTo>
                    <a:cubicBezTo>
                      <a:pt x="369280" y="227299"/>
                      <a:pt x="369280" y="227299"/>
                      <a:pt x="369280" y="272497"/>
                    </a:cubicBezTo>
                    <a:cubicBezTo>
                      <a:pt x="369280" y="272497"/>
                      <a:pt x="369280" y="272497"/>
                      <a:pt x="255342" y="272497"/>
                    </a:cubicBezTo>
                    <a:cubicBezTo>
                      <a:pt x="255342" y="272497"/>
                      <a:pt x="255342" y="272497"/>
                      <a:pt x="255342" y="227299"/>
                    </a:cubicBezTo>
                    <a:cubicBezTo>
                      <a:pt x="255342" y="227299"/>
                      <a:pt x="255342" y="227299"/>
                      <a:pt x="222788" y="227299"/>
                    </a:cubicBezTo>
                    <a:cubicBezTo>
                      <a:pt x="222788" y="227299"/>
                      <a:pt x="222788" y="227299"/>
                      <a:pt x="222788" y="84174"/>
                    </a:cubicBezTo>
                    <a:cubicBezTo>
                      <a:pt x="222788" y="84174"/>
                      <a:pt x="222788" y="84174"/>
                      <a:pt x="222788" y="76641"/>
                    </a:cubicBezTo>
                    <a:close/>
                    <a:moveTo>
                      <a:pt x="65108" y="76641"/>
                    </a:moveTo>
                    <a:cubicBezTo>
                      <a:pt x="65108" y="76641"/>
                      <a:pt x="65108" y="76641"/>
                      <a:pt x="146492" y="76641"/>
                    </a:cubicBezTo>
                    <a:lnTo>
                      <a:pt x="146492" y="84174"/>
                    </a:lnTo>
                    <a:cubicBezTo>
                      <a:pt x="146492" y="84174"/>
                      <a:pt x="146492" y="84174"/>
                      <a:pt x="146492" y="227299"/>
                    </a:cubicBezTo>
                    <a:cubicBezTo>
                      <a:pt x="146492" y="227299"/>
                      <a:pt x="146492" y="227299"/>
                      <a:pt x="113938" y="227299"/>
                    </a:cubicBezTo>
                    <a:cubicBezTo>
                      <a:pt x="113938" y="227299"/>
                      <a:pt x="113938" y="227299"/>
                      <a:pt x="113938" y="272497"/>
                    </a:cubicBezTo>
                    <a:cubicBezTo>
                      <a:pt x="113938" y="272497"/>
                      <a:pt x="113938" y="272497"/>
                      <a:pt x="0" y="272497"/>
                    </a:cubicBezTo>
                    <a:cubicBezTo>
                      <a:pt x="0" y="272497"/>
                      <a:pt x="0" y="272497"/>
                      <a:pt x="0" y="227299"/>
                    </a:cubicBezTo>
                    <a:cubicBezTo>
                      <a:pt x="0" y="227299"/>
                      <a:pt x="0" y="227299"/>
                      <a:pt x="16277" y="121838"/>
                    </a:cubicBezTo>
                    <a:cubicBezTo>
                      <a:pt x="16277" y="114305"/>
                      <a:pt x="24415" y="106773"/>
                      <a:pt x="32554" y="106773"/>
                    </a:cubicBezTo>
                    <a:cubicBezTo>
                      <a:pt x="32554" y="106773"/>
                      <a:pt x="32554" y="106773"/>
                      <a:pt x="65108" y="106773"/>
                    </a:cubicBezTo>
                    <a:cubicBezTo>
                      <a:pt x="65108" y="106773"/>
                      <a:pt x="65108" y="106773"/>
                      <a:pt x="65108" y="76641"/>
                    </a:cubicBezTo>
                    <a:close/>
                    <a:moveTo>
                      <a:pt x="204477" y="0"/>
                    </a:moveTo>
                    <a:cubicBezTo>
                      <a:pt x="204477" y="0"/>
                      <a:pt x="212761" y="0"/>
                      <a:pt x="221045" y="0"/>
                    </a:cubicBezTo>
                    <a:cubicBezTo>
                      <a:pt x="221045" y="0"/>
                      <a:pt x="221045" y="0"/>
                      <a:pt x="303883" y="0"/>
                    </a:cubicBezTo>
                    <a:cubicBezTo>
                      <a:pt x="312166" y="0"/>
                      <a:pt x="320450" y="0"/>
                      <a:pt x="320450" y="0"/>
                    </a:cubicBezTo>
                    <a:cubicBezTo>
                      <a:pt x="320450" y="0"/>
                      <a:pt x="320450" y="0"/>
                      <a:pt x="320450" y="46226"/>
                    </a:cubicBezTo>
                    <a:cubicBezTo>
                      <a:pt x="320450" y="53931"/>
                      <a:pt x="320450" y="53931"/>
                      <a:pt x="312166" y="53931"/>
                    </a:cubicBezTo>
                    <a:cubicBezTo>
                      <a:pt x="312166" y="53931"/>
                      <a:pt x="312166" y="53931"/>
                      <a:pt x="212761" y="53931"/>
                    </a:cubicBezTo>
                    <a:cubicBezTo>
                      <a:pt x="212761" y="53931"/>
                      <a:pt x="204477" y="53931"/>
                      <a:pt x="204477" y="46226"/>
                    </a:cubicBezTo>
                    <a:cubicBezTo>
                      <a:pt x="204477" y="46226"/>
                      <a:pt x="204477" y="46226"/>
                      <a:pt x="204477" y="0"/>
                    </a:cubicBezTo>
                    <a:close/>
                    <a:moveTo>
                      <a:pt x="48831" y="0"/>
                    </a:moveTo>
                    <a:cubicBezTo>
                      <a:pt x="48831" y="0"/>
                      <a:pt x="57115" y="0"/>
                      <a:pt x="65399" y="0"/>
                    </a:cubicBezTo>
                    <a:cubicBezTo>
                      <a:pt x="65399" y="0"/>
                      <a:pt x="65399" y="0"/>
                      <a:pt x="148237" y="0"/>
                    </a:cubicBezTo>
                    <a:cubicBezTo>
                      <a:pt x="156520" y="0"/>
                      <a:pt x="164804" y="0"/>
                      <a:pt x="164804" y="0"/>
                    </a:cubicBezTo>
                    <a:cubicBezTo>
                      <a:pt x="164804" y="0"/>
                      <a:pt x="164804" y="0"/>
                      <a:pt x="164804" y="46226"/>
                    </a:cubicBezTo>
                    <a:cubicBezTo>
                      <a:pt x="164804" y="53931"/>
                      <a:pt x="156520" y="53931"/>
                      <a:pt x="156520" y="53931"/>
                    </a:cubicBezTo>
                    <a:cubicBezTo>
                      <a:pt x="156520" y="53931"/>
                      <a:pt x="156520" y="53931"/>
                      <a:pt x="57115" y="53931"/>
                    </a:cubicBezTo>
                    <a:cubicBezTo>
                      <a:pt x="48831" y="53931"/>
                      <a:pt x="48831" y="53931"/>
                      <a:pt x="48831" y="46226"/>
                    </a:cubicBezTo>
                    <a:cubicBezTo>
                      <a:pt x="48831" y="46226"/>
                      <a:pt x="48831" y="46226"/>
                      <a:pt x="48831" y="0"/>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93" name="文本框 31"/>
              <p:cNvSpPr txBox="1">
                <a:spLocks/>
              </p:cNvSpPr>
              <p:nvPr/>
            </p:nvSpPr>
            <p:spPr bwMode="auto">
              <a:xfrm>
                <a:off x="2579386" y="3145546"/>
                <a:ext cx="2088062" cy="521178"/>
              </a:xfrm>
              <a:prstGeom prst="rect">
                <a:avLst/>
              </a:prstGeom>
              <a:noFill/>
              <a:extLst/>
            </p:spPr>
            <p:txBody>
              <a:bodyPr wrap="none" lIns="0" tIns="0" rIns="0" bIns="0" anchor="ctr" anchorCtr="1">
                <a:normAutofit/>
              </a:bodyPr>
              <a:lstStyle/>
              <a:p>
                <a:pPr latinLnBrk="0"/>
                <a:r>
                  <a:rPr lang="zh-CN" altLang="en-US" sz="1400" dirty="0">
                    <a:effectLst/>
                    <a:latin typeface="等线 Light" panose="02010600030101010101" pitchFamily="2" charset="-122"/>
                    <a:ea typeface="等线 Light" panose="02010600030101010101" pitchFamily="2" charset="-122"/>
                  </a:rPr>
                  <a:t>标题文本预设</a:t>
                </a:r>
              </a:p>
            </p:txBody>
          </p:sp>
        </p:grpSp>
        <p:sp>
          <p:nvSpPr>
            <p:cNvPr id="46" name="矩形 45"/>
            <p:cNvSpPr/>
            <p:nvPr/>
          </p:nvSpPr>
          <p:spPr bwMode="auto">
            <a:xfrm>
              <a:off x="4950719" y="2585064"/>
              <a:ext cx="2098468" cy="2973970"/>
            </a:xfrm>
            <a:prstGeom prst="rect">
              <a:avLst/>
            </a:prstGeom>
            <a:solidFill>
              <a:schemeClr val="tx2">
                <a:lumMod val="20000"/>
                <a:lumOff val="80000"/>
              </a:schemeClr>
            </a:solidFill>
            <a:ln w="57150">
              <a:solidFill>
                <a:schemeClr val="bg1"/>
              </a:solidFill>
              <a:round/>
              <a:headEnd/>
              <a:tailEnd/>
            </a:ln>
            <a:effectLst/>
          </p:spPr>
          <p:txBody>
            <a:bodyPr vert="horz" wrap="square" lIns="91440" tIns="45720" rIns="91440" bIns="1440000" anchor="b" anchorCtr="1" compatLnSpc="1">
              <a:prstTxWarp prst="textNoShape">
                <a:avLst/>
              </a:prstTxWarp>
              <a:normAutofit/>
            </a:bodyPr>
            <a:lstStyle/>
            <a:p>
              <a:pPr algn="ctr">
                <a:lnSpc>
                  <a:spcPct val="120000"/>
                </a:lnSpc>
              </a:pPr>
              <a:r>
                <a:rPr lang="zh-CN" altLang="en-US" sz="1100" dirty="0">
                  <a:latin typeface="等线 Light" panose="02010600030101010101" pitchFamily="2" charset="-122"/>
                  <a:ea typeface="等线 Light" panose="02010600030101010101" pitchFamily="2" charset="-122"/>
                </a:rPr>
                <a:t>此部分内容作为文字排版占位显示 </a:t>
              </a:r>
              <a:br>
                <a:rPr lang="zh-CN" altLang="en-US" sz="1100" dirty="0">
                  <a:latin typeface="等线 Light" panose="02010600030101010101" pitchFamily="2" charset="-122"/>
                  <a:ea typeface="等线 Light" panose="02010600030101010101" pitchFamily="2" charset="-122"/>
                </a:rPr>
              </a:br>
              <a:r>
                <a:rPr lang="zh-CN" altLang="en-US" sz="1100" dirty="0">
                  <a:latin typeface="等线 Light" panose="02010600030101010101" pitchFamily="2" charset="-122"/>
                  <a:ea typeface="等线 Light" panose="02010600030101010101" pitchFamily="2" charset="-122"/>
                </a:rPr>
                <a:t>（建议使用主题字体）</a:t>
              </a:r>
            </a:p>
          </p:txBody>
        </p:sp>
        <p:sp>
          <p:nvSpPr>
            <p:cNvPr id="47" name="任意多边形 20"/>
            <p:cNvSpPr>
              <a:spLocks/>
            </p:cNvSpPr>
            <p:nvPr/>
          </p:nvSpPr>
          <p:spPr bwMode="auto">
            <a:xfrm>
              <a:off x="7047235" y="1809496"/>
              <a:ext cx="187572" cy="1088532"/>
            </a:xfrm>
            <a:custGeom>
              <a:avLst/>
              <a:gdLst/>
              <a:ahLst/>
              <a:cxnLst>
                <a:cxn ang="0">
                  <a:pos x="54" y="575"/>
                </a:cxn>
                <a:cxn ang="0">
                  <a:pos x="54" y="0"/>
                </a:cxn>
                <a:cxn ang="0">
                  <a:pos x="0" y="10"/>
                </a:cxn>
                <a:cxn ang="0">
                  <a:pos x="0" y="627"/>
                </a:cxn>
                <a:cxn ang="0">
                  <a:pos x="54" y="617"/>
                </a:cxn>
                <a:cxn ang="0">
                  <a:pos x="54" y="617"/>
                </a:cxn>
                <a:cxn ang="0">
                  <a:pos x="80" y="586"/>
                </a:cxn>
                <a:cxn ang="0">
                  <a:pos x="54" y="575"/>
                </a:cxn>
              </a:cxnLst>
              <a:rect l="0" t="0" r="r" b="b"/>
              <a:pathLst>
                <a:path w="81" h="627">
                  <a:moveTo>
                    <a:pt x="54" y="575"/>
                  </a:moveTo>
                  <a:cubicBezTo>
                    <a:pt x="54" y="0"/>
                    <a:pt x="54" y="0"/>
                    <a:pt x="54" y="0"/>
                  </a:cubicBezTo>
                  <a:cubicBezTo>
                    <a:pt x="0" y="10"/>
                    <a:pt x="0" y="10"/>
                    <a:pt x="0" y="10"/>
                  </a:cubicBezTo>
                  <a:cubicBezTo>
                    <a:pt x="0" y="627"/>
                    <a:pt x="0" y="627"/>
                    <a:pt x="0" y="627"/>
                  </a:cubicBezTo>
                  <a:cubicBezTo>
                    <a:pt x="54" y="617"/>
                    <a:pt x="54" y="617"/>
                    <a:pt x="54" y="617"/>
                  </a:cubicBezTo>
                  <a:cubicBezTo>
                    <a:pt x="54" y="617"/>
                    <a:pt x="54" y="617"/>
                    <a:pt x="54" y="617"/>
                  </a:cubicBezTo>
                  <a:cubicBezTo>
                    <a:pt x="54" y="617"/>
                    <a:pt x="81" y="612"/>
                    <a:pt x="80" y="586"/>
                  </a:cubicBezTo>
                  <a:cubicBezTo>
                    <a:pt x="79" y="567"/>
                    <a:pt x="54" y="575"/>
                    <a:pt x="54" y="575"/>
                  </a:cubicBezTo>
                  <a:close/>
                </a:path>
              </a:pathLst>
            </a:custGeom>
            <a:solidFill>
              <a:schemeClr val="accent1">
                <a:lumMod val="75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48" name="任意多边形 21"/>
            <p:cNvSpPr>
              <a:spLocks/>
            </p:cNvSpPr>
            <p:nvPr/>
          </p:nvSpPr>
          <p:spPr bwMode="auto">
            <a:xfrm>
              <a:off x="4952674" y="1722268"/>
              <a:ext cx="2280180" cy="1410185"/>
            </a:xfrm>
            <a:custGeom>
              <a:avLst/>
              <a:gdLst/>
              <a:ahLst/>
              <a:cxnLst>
                <a:cxn ang="0">
                  <a:pos x="954" y="8"/>
                </a:cxn>
                <a:cxn ang="0">
                  <a:pos x="954" y="8"/>
                </a:cxn>
                <a:cxn ang="0">
                  <a:pos x="0" y="196"/>
                </a:cxn>
                <a:cxn ang="0">
                  <a:pos x="0" y="813"/>
                </a:cxn>
                <a:cxn ang="0">
                  <a:pos x="954" y="625"/>
                </a:cxn>
                <a:cxn ang="0">
                  <a:pos x="980" y="636"/>
                </a:cxn>
                <a:cxn ang="0">
                  <a:pos x="980" y="19"/>
                </a:cxn>
                <a:cxn ang="0">
                  <a:pos x="954" y="8"/>
                </a:cxn>
              </a:cxnLst>
              <a:rect l="0" t="0" r="r" b="b"/>
              <a:pathLst>
                <a:path w="980" h="813">
                  <a:moveTo>
                    <a:pt x="954" y="8"/>
                  </a:moveTo>
                  <a:cubicBezTo>
                    <a:pt x="954" y="8"/>
                    <a:pt x="954" y="8"/>
                    <a:pt x="954" y="8"/>
                  </a:cubicBezTo>
                  <a:cubicBezTo>
                    <a:pt x="0" y="196"/>
                    <a:pt x="0" y="196"/>
                    <a:pt x="0" y="196"/>
                  </a:cubicBezTo>
                  <a:cubicBezTo>
                    <a:pt x="0" y="813"/>
                    <a:pt x="0" y="813"/>
                    <a:pt x="0" y="813"/>
                  </a:cubicBezTo>
                  <a:cubicBezTo>
                    <a:pt x="954" y="625"/>
                    <a:pt x="954" y="625"/>
                    <a:pt x="954" y="625"/>
                  </a:cubicBezTo>
                  <a:cubicBezTo>
                    <a:pt x="954" y="625"/>
                    <a:pt x="979" y="617"/>
                    <a:pt x="980" y="636"/>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49" name="任意多边形 22"/>
            <p:cNvSpPr>
              <a:spLocks/>
            </p:cNvSpPr>
            <p:nvPr/>
          </p:nvSpPr>
          <p:spPr bwMode="auto">
            <a:xfrm>
              <a:off x="7047235" y="4617016"/>
              <a:ext cx="187572" cy="227157"/>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1">
                <a:lumMod val="75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50" name="任意多边形 23"/>
            <p:cNvSpPr>
              <a:spLocks/>
            </p:cNvSpPr>
            <p:nvPr/>
          </p:nvSpPr>
          <p:spPr bwMode="auto">
            <a:xfrm>
              <a:off x="4952674" y="4529788"/>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51" name="任意多边形 24"/>
            <p:cNvSpPr>
              <a:spLocks/>
            </p:cNvSpPr>
            <p:nvPr/>
          </p:nvSpPr>
          <p:spPr bwMode="auto">
            <a:xfrm>
              <a:off x="7047235" y="4915045"/>
              <a:ext cx="187572" cy="227157"/>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1">
                <a:lumMod val="75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52" name="任意多边形 25"/>
            <p:cNvSpPr>
              <a:spLocks/>
            </p:cNvSpPr>
            <p:nvPr/>
          </p:nvSpPr>
          <p:spPr bwMode="auto">
            <a:xfrm>
              <a:off x="4952674" y="4827817"/>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53" name="椭圆 52"/>
            <p:cNvSpPr/>
            <p:nvPr/>
          </p:nvSpPr>
          <p:spPr bwMode="auto">
            <a:xfrm>
              <a:off x="5717618" y="2096622"/>
              <a:ext cx="750290" cy="697823"/>
            </a:xfrm>
            <a:prstGeom prst="ellipse">
              <a:avLst/>
            </a:prstGeom>
            <a:solidFill>
              <a:schemeClr val="bg1"/>
            </a:solidFill>
            <a:ln w="19050">
              <a:solidFill>
                <a:schemeClr val="bg1"/>
              </a:solidFill>
              <a:round/>
              <a:headEnd/>
              <a:tailEnd/>
            </a:ln>
          </p:spPr>
          <p:txBody>
            <a:bodyPr anchor="ctr"/>
            <a:lstStyle/>
            <a:p>
              <a:pPr algn="ctr"/>
              <a:endParaRPr dirty="0">
                <a:latin typeface="微软雅黑" panose="020B0503020204020204" pitchFamily="34" charset="-122"/>
                <a:ea typeface="微软雅黑" panose="020B0503020204020204" pitchFamily="34" charset="-122"/>
              </a:endParaRPr>
            </a:p>
          </p:txBody>
        </p:sp>
        <p:sp>
          <p:nvSpPr>
            <p:cNvPr id="54" name="任意多边形 125"/>
            <p:cNvSpPr>
              <a:spLocks/>
            </p:cNvSpPr>
            <p:nvPr/>
          </p:nvSpPr>
          <p:spPr bwMode="auto">
            <a:xfrm>
              <a:off x="5893467" y="2245927"/>
              <a:ext cx="398592" cy="403698"/>
            </a:xfrm>
            <a:custGeom>
              <a:avLst/>
              <a:gdLst>
                <a:gd name="connsiteX0" fmla="*/ 127959 w 398592"/>
                <a:gd name="connsiteY0" fmla="*/ 191264 h 403698"/>
                <a:gd name="connsiteX1" fmla="*/ 146193 w 398592"/>
                <a:gd name="connsiteY1" fmla="*/ 202511 h 403698"/>
                <a:gd name="connsiteX2" fmla="*/ 152271 w 398592"/>
                <a:gd name="connsiteY2" fmla="*/ 213757 h 403698"/>
                <a:gd name="connsiteX3" fmla="*/ 146193 w 398592"/>
                <a:gd name="connsiteY3" fmla="*/ 241873 h 403698"/>
                <a:gd name="connsiteX4" fmla="*/ 146193 w 398592"/>
                <a:gd name="connsiteY4" fmla="*/ 247497 h 403698"/>
                <a:gd name="connsiteX5" fmla="*/ 91491 w 398592"/>
                <a:gd name="connsiteY5" fmla="*/ 298106 h 403698"/>
                <a:gd name="connsiteX6" fmla="*/ 73256 w 398592"/>
                <a:gd name="connsiteY6" fmla="*/ 298106 h 403698"/>
                <a:gd name="connsiteX7" fmla="*/ 73256 w 398592"/>
                <a:gd name="connsiteY7" fmla="*/ 281236 h 403698"/>
                <a:gd name="connsiteX8" fmla="*/ 115803 w 398592"/>
                <a:gd name="connsiteY8" fmla="*/ 230627 h 403698"/>
                <a:gd name="connsiteX9" fmla="*/ 127959 w 398592"/>
                <a:gd name="connsiteY9" fmla="*/ 191264 h 403698"/>
                <a:gd name="connsiteX10" fmla="*/ 314042 w 398592"/>
                <a:gd name="connsiteY10" fmla="*/ 164190 h 403698"/>
                <a:gd name="connsiteX11" fmla="*/ 386514 w 398592"/>
                <a:gd name="connsiteY11" fmla="*/ 164190 h 403698"/>
                <a:gd name="connsiteX12" fmla="*/ 398592 w 398592"/>
                <a:gd name="connsiteY12" fmla="*/ 164190 h 403698"/>
                <a:gd name="connsiteX13" fmla="*/ 398592 w 398592"/>
                <a:gd name="connsiteY13" fmla="*/ 175330 h 403698"/>
                <a:gd name="connsiteX14" fmla="*/ 398592 w 398592"/>
                <a:gd name="connsiteY14" fmla="*/ 236600 h 403698"/>
                <a:gd name="connsiteX15" fmla="*/ 386514 w 398592"/>
                <a:gd name="connsiteY15" fmla="*/ 247739 h 403698"/>
                <a:gd name="connsiteX16" fmla="*/ 374435 w 398592"/>
                <a:gd name="connsiteY16" fmla="*/ 236600 h 403698"/>
                <a:gd name="connsiteX17" fmla="*/ 374435 w 398592"/>
                <a:gd name="connsiteY17" fmla="*/ 203180 h 403698"/>
                <a:gd name="connsiteX18" fmla="*/ 368396 w 398592"/>
                <a:gd name="connsiteY18" fmla="*/ 203180 h 403698"/>
                <a:gd name="connsiteX19" fmla="*/ 205336 w 398592"/>
                <a:gd name="connsiteY19" fmla="*/ 353569 h 403698"/>
                <a:gd name="connsiteX20" fmla="*/ 193257 w 398592"/>
                <a:gd name="connsiteY20" fmla="*/ 359139 h 403698"/>
                <a:gd name="connsiteX21" fmla="*/ 187218 w 398592"/>
                <a:gd name="connsiteY21" fmla="*/ 353569 h 403698"/>
                <a:gd name="connsiteX22" fmla="*/ 144943 w 398592"/>
                <a:gd name="connsiteY22" fmla="*/ 314579 h 403698"/>
                <a:gd name="connsiteX23" fmla="*/ 138904 w 398592"/>
                <a:gd name="connsiteY23" fmla="*/ 314579 h 403698"/>
                <a:gd name="connsiteX24" fmla="*/ 36236 w 398592"/>
                <a:gd name="connsiteY24" fmla="*/ 403698 h 403698"/>
                <a:gd name="connsiteX25" fmla="*/ 0 w 398592"/>
                <a:gd name="connsiteY25" fmla="*/ 403698 h 403698"/>
                <a:gd name="connsiteX26" fmla="*/ 132864 w 398592"/>
                <a:gd name="connsiteY26" fmla="*/ 286729 h 403698"/>
                <a:gd name="connsiteX27" fmla="*/ 138904 w 398592"/>
                <a:gd name="connsiteY27" fmla="*/ 286729 h 403698"/>
                <a:gd name="connsiteX28" fmla="*/ 150982 w 398592"/>
                <a:gd name="connsiteY28" fmla="*/ 286729 h 403698"/>
                <a:gd name="connsiteX29" fmla="*/ 193257 w 398592"/>
                <a:gd name="connsiteY29" fmla="*/ 325719 h 403698"/>
                <a:gd name="connsiteX30" fmla="*/ 193257 w 398592"/>
                <a:gd name="connsiteY30" fmla="*/ 331289 h 403698"/>
                <a:gd name="connsiteX31" fmla="*/ 199296 w 398592"/>
                <a:gd name="connsiteY31" fmla="*/ 325719 h 403698"/>
                <a:gd name="connsiteX32" fmla="*/ 344239 w 398592"/>
                <a:gd name="connsiteY32" fmla="*/ 192040 h 403698"/>
                <a:gd name="connsiteX33" fmla="*/ 344239 w 398592"/>
                <a:gd name="connsiteY33" fmla="*/ 186470 h 403698"/>
                <a:gd name="connsiteX34" fmla="*/ 320082 w 398592"/>
                <a:gd name="connsiteY34" fmla="*/ 186470 h 403698"/>
                <a:gd name="connsiteX35" fmla="*/ 314042 w 398592"/>
                <a:gd name="connsiteY35" fmla="*/ 186470 h 403698"/>
                <a:gd name="connsiteX36" fmla="*/ 308003 w 398592"/>
                <a:gd name="connsiteY36" fmla="*/ 175330 h 403698"/>
                <a:gd name="connsiteX37" fmla="*/ 314042 w 398592"/>
                <a:gd name="connsiteY37" fmla="*/ 164190 h 403698"/>
                <a:gd name="connsiteX38" fmla="*/ 259584 w 398592"/>
                <a:gd name="connsiteY38" fmla="*/ 74634 h 403698"/>
                <a:gd name="connsiteX39" fmla="*/ 277671 w 398592"/>
                <a:gd name="connsiteY39" fmla="*/ 80101 h 403698"/>
                <a:gd name="connsiteX40" fmla="*/ 271642 w 398592"/>
                <a:gd name="connsiteY40" fmla="*/ 96502 h 403698"/>
                <a:gd name="connsiteX41" fmla="*/ 235469 w 398592"/>
                <a:gd name="connsiteY41" fmla="*/ 118370 h 403698"/>
                <a:gd name="connsiteX42" fmla="*/ 223411 w 398592"/>
                <a:gd name="connsiteY42" fmla="*/ 118370 h 403698"/>
                <a:gd name="connsiteX43" fmla="*/ 199295 w 398592"/>
                <a:gd name="connsiteY43" fmla="*/ 112903 h 403698"/>
                <a:gd name="connsiteX44" fmla="*/ 205324 w 398592"/>
                <a:gd name="connsiteY44" fmla="*/ 101969 h 403698"/>
                <a:gd name="connsiteX45" fmla="*/ 199295 w 398592"/>
                <a:gd name="connsiteY45" fmla="*/ 91035 h 403698"/>
                <a:gd name="connsiteX46" fmla="*/ 223411 w 398592"/>
                <a:gd name="connsiteY46" fmla="*/ 96502 h 403698"/>
                <a:gd name="connsiteX47" fmla="*/ 259584 w 398592"/>
                <a:gd name="connsiteY47" fmla="*/ 74634 h 403698"/>
                <a:gd name="connsiteX48" fmla="*/ 109187 w 398592"/>
                <a:gd name="connsiteY48" fmla="*/ 68387 h 403698"/>
                <a:gd name="connsiteX49" fmla="*/ 151823 w 398592"/>
                <a:gd name="connsiteY49" fmla="*/ 68387 h 403698"/>
                <a:gd name="connsiteX50" fmla="*/ 164005 w 398592"/>
                <a:gd name="connsiteY50" fmla="*/ 68387 h 403698"/>
                <a:gd name="connsiteX51" fmla="*/ 176186 w 398592"/>
                <a:gd name="connsiteY51" fmla="*/ 113373 h 403698"/>
                <a:gd name="connsiteX52" fmla="*/ 182277 w 398592"/>
                <a:gd name="connsiteY52" fmla="*/ 85257 h 403698"/>
                <a:gd name="connsiteX53" fmla="*/ 176186 w 398592"/>
                <a:gd name="connsiteY53" fmla="*/ 79633 h 403698"/>
                <a:gd name="connsiteX54" fmla="*/ 182277 w 398592"/>
                <a:gd name="connsiteY54" fmla="*/ 74010 h 403698"/>
                <a:gd name="connsiteX55" fmla="*/ 188368 w 398592"/>
                <a:gd name="connsiteY55" fmla="*/ 79633 h 403698"/>
                <a:gd name="connsiteX56" fmla="*/ 188368 w 398592"/>
                <a:gd name="connsiteY56" fmla="*/ 85257 h 403698"/>
                <a:gd name="connsiteX57" fmla="*/ 182277 w 398592"/>
                <a:gd name="connsiteY57" fmla="*/ 113373 h 403698"/>
                <a:gd name="connsiteX58" fmla="*/ 194459 w 398592"/>
                <a:gd name="connsiteY58" fmla="*/ 85257 h 403698"/>
                <a:gd name="connsiteX59" fmla="*/ 194459 w 398592"/>
                <a:gd name="connsiteY59" fmla="*/ 96503 h 403698"/>
                <a:gd name="connsiteX60" fmla="*/ 176186 w 398592"/>
                <a:gd name="connsiteY60" fmla="*/ 175229 h 403698"/>
                <a:gd name="connsiteX61" fmla="*/ 206640 w 398592"/>
                <a:gd name="connsiteY61" fmla="*/ 208968 h 403698"/>
                <a:gd name="connsiteX62" fmla="*/ 206640 w 398592"/>
                <a:gd name="connsiteY62" fmla="*/ 225838 h 403698"/>
                <a:gd name="connsiteX63" fmla="*/ 200550 w 398592"/>
                <a:gd name="connsiteY63" fmla="*/ 282071 h 403698"/>
                <a:gd name="connsiteX64" fmla="*/ 182277 w 398592"/>
                <a:gd name="connsiteY64" fmla="*/ 293317 h 403698"/>
                <a:gd name="connsiteX65" fmla="*/ 170095 w 398592"/>
                <a:gd name="connsiteY65" fmla="*/ 276447 h 403698"/>
                <a:gd name="connsiteX66" fmla="*/ 176186 w 398592"/>
                <a:gd name="connsiteY66" fmla="*/ 225838 h 403698"/>
                <a:gd name="connsiteX67" fmla="*/ 145732 w 398592"/>
                <a:gd name="connsiteY67" fmla="*/ 192099 h 403698"/>
                <a:gd name="connsiteX68" fmla="*/ 121369 w 398592"/>
                <a:gd name="connsiteY68" fmla="*/ 169606 h 403698"/>
                <a:gd name="connsiteX69" fmla="*/ 115278 w 398592"/>
                <a:gd name="connsiteY69" fmla="*/ 163982 h 403698"/>
                <a:gd name="connsiteX70" fmla="*/ 133550 w 398592"/>
                <a:gd name="connsiteY70" fmla="*/ 96503 h 403698"/>
                <a:gd name="connsiteX71" fmla="*/ 145732 w 398592"/>
                <a:gd name="connsiteY71" fmla="*/ 96503 h 403698"/>
                <a:gd name="connsiteX72" fmla="*/ 115278 w 398592"/>
                <a:gd name="connsiteY72" fmla="*/ 90880 h 403698"/>
                <a:gd name="connsiteX73" fmla="*/ 78733 w 398592"/>
                <a:gd name="connsiteY73" fmla="*/ 118996 h 403698"/>
                <a:gd name="connsiteX74" fmla="*/ 60460 w 398592"/>
                <a:gd name="connsiteY74" fmla="*/ 118996 h 403698"/>
                <a:gd name="connsiteX75" fmla="*/ 60460 w 398592"/>
                <a:gd name="connsiteY75" fmla="*/ 102126 h 403698"/>
                <a:gd name="connsiteX76" fmla="*/ 109187 w 398592"/>
                <a:gd name="connsiteY76" fmla="*/ 68387 h 403698"/>
                <a:gd name="connsiteX77" fmla="*/ 175120 w 398592"/>
                <a:gd name="connsiteY77" fmla="*/ 749 h 403698"/>
                <a:gd name="connsiteX78" fmla="*/ 187852 w 398592"/>
                <a:gd name="connsiteY78" fmla="*/ 1099 h 403698"/>
                <a:gd name="connsiteX79" fmla="*/ 212733 w 398592"/>
                <a:gd name="connsiteY79" fmla="*/ 29135 h 403698"/>
                <a:gd name="connsiteX80" fmla="*/ 187852 w 398592"/>
                <a:gd name="connsiteY80" fmla="*/ 62778 h 403698"/>
                <a:gd name="connsiteX81" fmla="*/ 156750 w 398592"/>
                <a:gd name="connsiteY81" fmla="*/ 29135 h 403698"/>
                <a:gd name="connsiteX82" fmla="*/ 175120 w 398592"/>
                <a:gd name="connsiteY82" fmla="*/ 749 h 40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98592" h="403698">
                  <a:moveTo>
                    <a:pt x="127959" y="191264"/>
                  </a:moveTo>
                  <a:cubicBezTo>
                    <a:pt x="134037" y="196887"/>
                    <a:pt x="140115" y="196887"/>
                    <a:pt x="146193" y="202511"/>
                  </a:cubicBezTo>
                  <a:cubicBezTo>
                    <a:pt x="146193" y="202511"/>
                    <a:pt x="152271" y="208134"/>
                    <a:pt x="152271" y="213757"/>
                  </a:cubicBezTo>
                  <a:cubicBezTo>
                    <a:pt x="152271" y="213757"/>
                    <a:pt x="152271" y="213757"/>
                    <a:pt x="146193" y="241873"/>
                  </a:cubicBezTo>
                  <a:cubicBezTo>
                    <a:pt x="146193" y="241873"/>
                    <a:pt x="146193" y="247497"/>
                    <a:pt x="146193" y="247497"/>
                  </a:cubicBezTo>
                  <a:cubicBezTo>
                    <a:pt x="146193" y="247497"/>
                    <a:pt x="146193" y="247497"/>
                    <a:pt x="91491" y="298106"/>
                  </a:cubicBezTo>
                  <a:cubicBezTo>
                    <a:pt x="85412" y="303729"/>
                    <a:pt x="79334" y="303729"/>
                    <a:pt x="73256" y="298106"/>
                  </a:cubicBezTo>
                  <a:cubicBezTo>
                    <a:pt x="67178" y="292483"/>
                    <a:pt x="67178" y="286859"/>
                    <a:pt x="73256" y="281236"/>
                  </a:cubicBezTo>
                  <a:cubicBezTo>
                    <a:pt x="73256" y="281236"/>
                    <a:pt x="73256" y="281236"/>
                    <a:pt x="115803" y="230627"/>
                  </a:cubicBezTo>
                  <a:cubicBezTo>
                    <a:pt x="115803" y="230627"/>
                    <a:pt x="115803" y="230627"/>
                    <a:pt x="127959" y="191264"/>
                  </a:cubicBezTo>
                  <a:close/>
                  <a:moveTo>
                    <a:pt x="314042" y="164190"/>
                  </a:moveTo>
                  <a:cubicBezTo>
                    <a:pt x="314042" y="164190"/>
                    <a:pt x="314042" y="164190"/>
                    <a:pt x="386514" y="164190"/>
                  </a:cubicBezTo>
                  <a:cubicBezTo>
                    <a:pt x="392553" y="164190"/>
                    <a:pt x="392553" y="164190"/>
                    <a:pt x="398592" y="164190"/>
                  </a:cubicBezTo>
                  <a:cubicBezTo>
                    <a:pt x="398592" y="169760"/>
                    <a:pt x="398592" y="169760"/>
                    <a:pt x="398592" y="175330"/>
                  </a:cubicBezTo>
                  <a:lnTo>
                    <a:pt x="398592" y="236600"/>
                  </a:lnTo>
                  <a:cubicBezTo>
                    <a:pt x="398592" y="242169"/>
                    <a:pt x="392553" y="247739"/>
                    <a:pt x="386514" y="247739"/>
                  </a:cubicBezTo>
                  <a:cubicBezTo>
                    <a:pt x="380474" y="247739"/>
                    <a:pt x="374435" y="242169"/>
                    <a:pt x="374435" y="236600"/>
                  </a:cubicBezTo>
                  <a:cubicBezTo>
                    <a:pt x="374435" y="236600"/>
                    <a:pt x="374435" y="236600"/>
                    <a:pt x="374435" y="203180"/>
                  </a:cubicBezTo>
                  <a:cubicBezTo>
                    <a:pt x="374435" y="203180"/>
                    <a:pt x="374435" y="203180"/>
                    <a:pt x="368396" y="203180"/>
                  </a:cubicBezTo>
                  <a:cubicBezTo>
                    <a:pt x="368396" y="203180"/>
                    <a:pt x="368396" y="203180"/>
                    <a:pt x="205336" y="353569"/>
                  </a:cubicBezTo>
                  <a:cubicBezTo>
                    <a:pt x="199296" y="359139"/>
                    <a:pt x="199296" y="359139"/>
                    <a:pt x="193257" y="359139"/>
                  </a:cubicBezTo>
                  <a:cubicBezTo>
                    <a:pt x="193257" y="359139"/>
                    <a:pt x="187218" y="359139"/>
                    <a:pt x="187218" y="353569"/>
                  </a:cubicBezTo>
                  <a:cubicBezTo>
                    <a:pt x="187218" y="353569"/>
                    <a:pt x="187218" y="353569"/>
                    <a:pt x="144943" y="314579"/>
                  </a:cubicBezTo>
                  <a:cubicBezTo>
                    <a:pt x="144943" y="314579"/>
                    <a:pt x="144943" y="314579"/>
                    <a:pt x="138904" y="314579"/>
                  </a:cubicBezTo>
                  <a:cubicBezTo>
                    <a:pt x="138904" y="314579"/>
                    <a:pt x="138904" y="314579"/>
                    <a:pt x="36236" y="403698"/>
                  </a:cubicBezTo>
                  <a:cubicBezTo>
                    <a:pt x="36236" y="403698"/>
                    <a:pt x="36236" y="403698"/>
                    <a:pt x="0" y="403698"/>
                  </a:cubicBezTo>
                  <a:cubicBezTo>
                    <a:pt x="0" y="403698"/>
                    <a:pt x="0" y="403698"/>
                    <a:pt x="132864" y="286729"/>
                  </a:cubicBezTo>
                  <a:cubicBezTo>
                    <a:pt x="132864" y="286729"/>
                    <a:pt x="138904" y="286729"/>
                    <a:pt x="138904" y="286729"/>
                  </a:cubicBezTo>
                  <a:cubicBezTo>
                    <a:pt x="144943" y="286729"/>
                    <a:pt x="144943" y="286729"/>
                    <a:pt x="150982" y="286729"/>
                  </a:cubicBezTo>
                  <a:cubicBezTo>
                    <a:pt x="150982" y="286729"/>
                    <a:pt x="150982" y="286729"/>
                    <a:pt x="193257" y="325719"/>
                  </a:cubicBezTo>
                  <a:cubicBezTo>
                    <a:pt x="193257" y="325719"/>
                    <a:pt x="193257" y="325719"/>
                    <a:pt x="193257" y="331289"/>
                  </a:cubicBezTo>
                  <a:cubicBezTo>
                    <a:pt x="193257" y="331289"/>
                    <a:pt x="193257" y="331289"/>
                    <a:pt x="199296" y="325719"/>
                  </a:cubicBezTo>
                  <a:cubicBezTo>
                    <a:pt x="199296" y="325719"/>
                    <a:pt x="199296" y="325719"/>
                    <a:pt x="344239" y="192040"/>
                  </a:cubicBezTo>
                  <a:cubicBezTo>
                    <a:pt x="344239" y="192040"/>
                    <a:pt x="344239" y="192040"/>
                    <a:pt x="344239" y="186470"/>
                  </a:cubicBezTo>
                  <a:cubicBezTo>
                    <a:pt x="344239" y="186470"/>
                    <a:pt x="344239" y="186470"/>
                    <a:pt x="320082" y="186470"/>
                  </a:cubicBezTo>
                  <a:cubicBezTo>
                    <a:pt x="320082" y="186470"/>
                    <a:pt x="320082" y="186470"/>
                    <a:pt x="314042" y="186470"/>
                  </a:cubicBezTo>
                  <a:cubicBezTo>
                    <a:pt x="308003" y="180900"/>
                    <a:pt x="308003" y="180900"/>
                    <a:pt x="308003" y="175330"/>
                  </a:cubicBezTo>
                  <a:cubicBezTo>
                    <a:pt x="308003" y="169760"/>
                    <a:pt x="308003" y="164190"/>
                    <a:pt x="314042" y="164190"/>
                  </a:cubicBezTo>
                  <a:close/>
                  <a:moveTo>
                    <a:pt x="259584" y="74634"/>
                  </a:moveTo>
                  <a:cubicBezTo>
                    <a:pt x="265613" y="74634"/>
                    <a:pt x="271642" y="74634"/>
                    <a:pt x="277671" y="80101"/>
                  </a:cubicBezTo>
                  <a:cubicBezTo>
                    <a:pt x="277671" y="85568"/>
                    <a:pt x="277671" y="91035"/>
                    <a:pt x="271642" y="96502"/>
                  </a:cubicBezTo>
                  <a:cubicBezTo>
                    <a:pt x="271642" y="96502"/>
                    <a:pt x="271642" y="96502"/>
                    <a:pt x="235469" y="118370"/>
                  </a:cubicBezTo>
                  <a:cubicBezTo>
                    <a:pt x="229440" y="118370"/>
                    <a:pt x="229440" y="118370"/>
                    <a:pt x="223411" y="118370"/>
                  </a:cubicBezTo>
                  <a:cubicBezTo>
                    <a:pt x="223411" y="118370"/>
                    <a:pt x="223411" y="118370"/>
                    <a:pt x="199295" y="112903"/>
                  </a:cubicBezTo>
                  <a:cubicBezTo>
                    <a:pt x="199295" y="112903"/>
                    <a:pt x="199295" y="107436"/>
                    <a:pt x="205324" y="101969"/>
                  </a:cubicBezTo>
                  <a:cubicBezTo>
                    <a:pt x="205324" y="96502"/>
                    <a:pt x="199295" y="91035"/>
                    <a:pt x="199295" y="91035"/>
                  </a:cubicBezTo>
                  <a:cubicBezTo>
                    <a:pt x="199295" y="91035"/>
                    <a:pt x="199295" y="91035"/>
                    <a:pt x="223411" y="96502"/>
                  </a:cubicBezTo>
                  <a:cubicBezTo>
                    <a:pt x="223411" y="96502"/>
                    <a:pt x="223411" y="96502"/>
                    <a:pt x="259584" y="74634"/>
                  </a:cubicBezTo>
                  <a:close/>
                  <a:moveTo>
                    <a:pt x="109187" y="68387"/>
                  </a:moveTo>
                  <a:cubicBezTo>
                    <a:pt x="127459" y="68387"/>
                    <a:pt x="145732" y="68387"/>
                    <a:pt x="151823" y="68387"/>
                  </a:cubicBezTo>
                  <a:cubicBezTo>
                    <a:pt x="151823" y="68387"/>
                    <a:pt x="164005" y="68387"/>
                    <a:pt x="164005" y="68387"/>
                  </a:cubicBezTo>
                  <a:cubicBezTo>
                    <a:pt x="170095" y="68387"/>
                    <a:pt x="176186" y="79633"/>
                    <a:pt x="176186" y="113373"/>
                  </a:cubicBezTo>
                  <a:cubicBezTo>
                    <a:pt x="176186" y="102126"/>
                    <a:pt x="182277" y="85257"/>
                    <a:pt x="182277" y="85257"/>
                  </a:cubicBezTo>
                  <a:cubicBezTo>
                    <a:pt x="176186" y="85257"/>
                    <a:pt x="176186" y="79633"/>
                    <a:pt x="176186" y="79633"/>
                  </a:cubicBezTo>
                  <a:cubicBezTo>
                    <a:pt x="176186" y="79633"/>
                    <a:pt x="176186" y="79633"/>
                    <a:pt x="182277" y="74010"/>
                  </a:cubicBezTo>
                  <a:cubicBezTo>
                    <a:pt x="182277" y="74010"/>
                    <a:pt x="182277" y="74010"/>
                    <a:pt x="188368" y="79633"/>
                  </a:cubicBezTo>
                  <a:cubicBezTo>
                    <a:pt x="188368" y="79633"/>
                    <a:pt x="188368" y="85257"/>
                    <a:pt x="188368" y="85257"/>
                  </a:cubicBezTo>
                  <a:cubicBezTo>
                    <a:pt x="188368" y="90880"/>
                    <a:pt x="182277" y="113373"/>
                    <a:pt x="182277" y="113373"/>
                  </a:cubicBezTo>
                  <a:cubicBezTo>
                    <a:pt x="182277" y="113373"/>
                    <a:pt x="194459" y="102126"/>
                    <a:pt x="194459" y="85257"/>
                  </a:cubicBezTo>
                  <a:lnTo>
                    <a:pt x="194459" y="96503"/>
                  </a:lnTo>
                  <a:cubicBezTo>
                    <a:pt x="200550" y="102126"/>
                    <a:pt x="182277" y="130243"/>
                    <a:pt x="176186" y="175229"/>
                  </a:cubicBezTo>
                  <a:cubicBezTo>
                    <a:pt x="176186" y="175229"/>
                    <a:pt x="206640" y="208968"/>
                    <a:pt x="206640" y="208968"/>
                  </a:cubicBezTo>
                  <a:cubicBezTo>
                    <a:pt x="206640" y="214592"/>
                    <a:pt x="212731" y="214592"/>
                    <a:pt x="206640" y="225838"/>
                  </a:cubicBezTo>
                  <a:cubicBezTo>
                    <a:pt x="206640" y="225838"/>
                    <a:pt x="206640" y="225838"/>
                    <a:pt x="200550" y="282071"/>
                  </a:cubicBezTo>
                  <a:cubicBezTo>
                    <a:pt x="200550" y="287694"/>
                    <a:pt x="188368" y="293317"/>
                    <a:pt x="182277" y="293317"/>
                  </a:cubicBezTo>
                  <a:cubicBezTo>
                    <a:pt x="176186" y="293317"/>
                    <a:pt x="170095" y="287694"/>
                    <a:pt x="170095" y="276447"/>
                  </a:cubicBezTo>
                  <a:cubicBezTo>
                    <a:pt x="170095" y="276447"/>
                    <a:pt x="170095" y="276447"/>
                    <a:pt x="176186" y="225838"/>
                  </a:cubicBezTo>
                  <a:cubicBezTo>
                    <a:pt x="176186" y="225838"/>
                    <a:pt x="151823" y="197722"/>
                    <a:pt x="145732" y="192099"/>
                  </a:cubicBezTo>
                  <a:cubicBezTo>
                    <a:pt x="127459" y="186475"/>
                    <a:pt x="121369" y="175229"/>
                    <a:pt x="121369" y="169606"/>
                  </a:cubicBezTo>
                  <a:cubicBezTo>
                    <a:pt x="121369" y="169606"/>
                    <a:pt x="121369" y="169606"/>
                    <a:pt x="115278" y="163982"/>
                  </a:cubicBezTo>
                  <a:cubicBezTo>
                    <a:pt x="121369" y="147112"/>
                    <a:pt x="133550" y="113373"/>
                    <a:pt x="133550" y="96503"/>
                  </a:cubicBezTo>
                  <a:cubicBezTo>
                    <a:pt x="133550" y="96503"/>
                    <a:pt x="133550" y="96503"/>
                    <a:pt x="145732" y="96503"/>
                  </a:cubicBezTo>
                  <a:cubicBezTo>
                    <a:pt x="145732" y="96503"/>
                    <a:pt x="145732" y="96503"/>
                    <a:pt x="115278" y="90880"/>
                  </a:cubicBezTo>
                  <a:cubicBezTo>
                    <a:pt x="115278" y="90880"/>
                    <a:pt x="115278" y="90880"/>
                    <a:pt x="78733" y="118996"/>
                  </a:cubicBezTo>
                  <a:cubicBezTo>
                    <a:pt x="72642" y="124619"/>
                    <a:pt x="66551" y="124619"/>
                    <a:pt x="60460" y="118996"/>
                  </a:cubicBezTo>
                  <a:cubicBezTo>
                    <a:pt x="60460" y="113373"/>
                    <a:pt x="60460" y="107750"/>
                    <a:pt x="60460" y="102126"/>
                  </a:cubicBezTo>
                  <a:cubicBezTo>
                    <a:pt x="60460" y="102126"/>
                    <a:pt x="60460" y="102126"/>
                    <a:pt x="109187" y="68387"/>
                  </a:cubicBezTo>
                  <a:close/>
                  <a:moveTo>
                    <a:pt x="175120" y="749"/>
                  </a:moveTo>
                  <a:cubicBezTo>
                    <a:pt x="178910" y="-303"/>
                    <a:pt x="183187" y="-303"/>
                    <a:pt x="187852" y="1099"/>
                  </a:cubicBezTo>
                  <a:cubicBezTo>
                    <a:pt x="200293" y="1099"/>
                    <a:pt x="212733" y="12313"/>
                    <a:pt x="212733" y="29135"/>
                  </a:cubicBezTo>
                  <a:cubicBezTo>
                    <a:pt x="212733" y="40349"/>
                    <a:pt x="206513" y="62778"/>
                    <a:pt x="187852" y="62778"/>
                  </a:cubicBezTo>
                  <a:cubicBezTo>
                    <a:pt x="181632" y="68385"/>
                    <a:pt x="156750" y="51563"/>
                    <a:pt x="156750" y="29135"/>
                  </a:cubicBezTo>
                  <a:cubicBezTo>
                    <a:pt x="156750" y="16519"/>
                    <a:pt x="163748" y="3903"/>
                    <a:pt x="175120" y="749"/>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55" name="文本框 32"/>
            <p:cNvSpPr txBox="1">
              <a:spLocks/>
            </p:cNvSpPr>
            <p:nvPr/>
          </p:nvSpPr>
          <p:spPr bwMode="auto">
            <a:xfrm>
              <a:off x="4952688" y="3145546"/>
              <a:ext cx="2088062" cy="521178"/>
            </a:xfrm>
            <a:prstGeom prst="rect">
              <a:avLst/>
            </a:prstGeom>
            <a:noFill/>
            <a:extLst/>
          </p:spPr>
          <p:txBody>
            <a:bodyPr wrap="none" lIns="0" tIns="0" rIns="0" bIns="0" anchor="ctr" anchorCtr="1">
              <a:normAutofit/>
            </a:bodyPr>
            <a:lstStyle/>
            <a:p>
              <a:r>
                <a:rPr lang="zh-CN" altLang="en-US" sz="1400" dirty="0">
                  <a:latin typeface="等线 Light" panose="02010600030101010101" pitchFamily="2" charset="-122"/>
                  <a:ea typeface="等线 Light" panose="02010600030101010101" pitchFamily="2" charset="-122"/>
                </a:rPr>
                <a:t>标题文本预设</a:t>
              </a:r>
            </a:p>
          </p:txBody>
        </p:sp>
        <p:grpSp>
          <p:nvGrpSpPr>
            <p:cNvPr id="56" name="组合 55"/>
            <p:cNvGrpSpPr/>
            <p:nvPr/>
          </p:nvGrpSpPr>
          <p:grpSpPr>
            <a:xfrm>
              <a:off x="7045953" y="1722268"/>
              <a:ext cx="2287336" cy="3836766"/>
              <a:chOff x="6765916" y="1722268"/>
              <a:chExt cx="2287336" cy="3836766"/>
            </a:xfrm>
          </p:grpSpPr>
          <p:sp>
            <p:nvSpPr>
              <p:cNvPr id="71" name="矩形 70"/>
              <p:cNvSpPr/>
              <p:nvPr/>
            </p:nvSpPr>
            <p:spPr bwMode="auto">
              <a:xfrm>
                <a:off x="6769164" y="2674508"/>
                <a:ext cx="2098468" cy="2884526"/>
              </a:xfrm>
              <a:prstGeom prst="rect">
                <a:avLst/>
              </a:prstGeom>
              <a:solidFill>
                <a:schemeClr val="tx2">
                  <a:lumMod val="20000"/>
                  <a:lumOff val="80000"/>
                </a:schemeClr>
              </a:solidFill>
              <a:ln w="57150">
                <a:solidFill>
                  <a:schemeClr val="bg1"/>
                </a:solidFill>
                <a:round/>
                <a:headEnd/>
                <a:tailEnd/>
              </a:ln>
              <a:effectLst/>
            </p:spPr>
            <p:txBody>
              <a:bodyPr vert="horz" wrap="square" lIns="91440" tIns="45720" rIns="91440" bIns="1440000" anchor="b" anchorCtr="1" compatLnSpc="1">
                <a:prstTxWarp prst="textNoShape">
                  <a:avLst/>
                </a:prstTxWarp>
                <a:normAutofit/>
              </a:bodyPr>
              <a:lstStyle/>
              <a:p>
                <a:pPr algn="ctr">
                  <a:lnSpc>
                    <a:spcPct val="120000"/>
                  </a:lnSpc>
                </a:pPr>
                <a:r>
                  <a:rPr lang="zh-CN" altLang="en-US" sz="1100" dirty="0">
                    <a:latin typeface="等线 Light" panose="02010600030101010101" pitchFamily="2" charset="-122"/>
                    <a:ea typeface="等线 Light" panose="02010600030101010101" pitchFamily="2" charset="-122"/>
                  </a:rPr>
                  <a:t>此部分内容作为文字排版占位显示 </a:t>
                </a:r>
                <a:br>
                  <a:rPr lang="zh-CN" altLang="en-US" sz="1100" dirty="0">
                    <a:latin typeface="等线 Light" panose="02010600030101010101" pitchFamily="2" charset="-122"/>
                    <a:ea typeface="等线 Light" panose="02010600030101010101" pitchFamily="2" charset="-122"/>
                  </a:rPr>
                </a:br>
                <a:r>
                  <a:rPr lang="zh-CN" altLang="en-US" sz="1100" dirty="0">
                    <a:latin typeface="等线 Light" panose="02010600030101010101" pitchFamily="2" charset="-122"/>
                    <a:ea typeface="等线 Light" panose="02010600030101010101" pitchFamily="2" charset="-122"/>
                  </a:rPr>
                  <a:t>（建议使用主题字体）</a:t>
                </a:r>
              </a:p>
            </p:txBody>
          </p:sp>
          <p:grpSp>
            <p:nvGrpSpPr>
              <p:cNvPr id="72" name="组合 71"/>
              <p:cNvGrpSpPr/>
              <p:nvPr/>
            </p:nvGrpSpPr>
            <p:grpSpPr>
              <a:xfrm>
                <a:off x="6771118" y="1722268"/>
                <a:ext cx="2282134" cy="3656176"/>
                <a:chOff x="8096836" y="1722268"/>
                <a:chExt cx="2282134" cy="3656176"/>
              </a:xfrm>
            </p:grpSpPr>
            <p:grpSp>
              <p:nvGrpSpPr>
                <p:cNvPr id="76" name="组合 75"/>
                <p:cNvGrpSpPr/>
                <p:nvPr/>
              </p:nvGrpSpPr>
              <p:grpSpPr>
                <a:xfrm>
                  <a:off x="10191398" y="1809496"/>
                  <a:ext cx="187572" cy="3332705"/>
                  <a:chOff x="11237428" y="1342242"/>
                  <a:chExt cx="235435" cy="4183109"/>
                </a:xfrm>
              </p:grpSpPr>
              <p:sp>
                <p:nvSpPr>
                  <p:cNvPr id="81" name="任意多边形 58"/>
                  <p:cNvSpPr>
                    <a:spLocks/>
                  </p:cNvSpPr>
                  <p:nvPr/>
                </p:nvSpPr>
                <p:spPr bwMode="auto">
                  <a:xfrm>
                    <a:off x="11237428" y="1342242"/>
                    <a:ext cx="235435" cy="1366292"/>
                  </a:xfrm>
                  <a:custGeom>
                    <a:avLst/>
                    <a:gdLst/>
                    <a:ahLst/>
                    <a:cxnLst>
                      <a:cxn ang="0">
                        <a:pos x="54" y="575"/>
                      </a:cxn>
                      <a:cxn ang="0">
                        <a:pos x="54" y="0"/>
                      </a:cxn>
                      <a:cxn ang="0">
                        <a:pos x="0" y="10"/>
                      </a:cxn>
                      <a:cxn ang="0">
                        <a:pos x="0" y="627"/>
                      </a:cxn>
                      <a:cxn ang="0">
                        <a:pos x="54" y="617"/>
                      </a:cxn>
                      <a:cxn ang="0">
                        <a:pos x="54" y="617"/>
                      </a:cxn>
                      <a:cxn ang="0">
                        <a:pos x="80" y="586"/>
                      </a:cxn>
                      <a:cxn ang="0">
                        <a:pos x="54" y="575"/>
                      </a:cxn>
                    </a:cxnLst>
                    <a:rect l="0" t="0" r="r" b="b"/>
                    <a:pathLst>
                      <a:path w="81" h="627">
                        <a:moveTo>
                          <a:pt x="54" y="575"/>
                        </a:moveTo>
                        <a:cubicBezTo>
                          <a:pt x="54" y="0"/>
                          <a:pt x="54" y="0"/>
                          <a:pt x="54" y="0"/>
                        </a:cubicBezTo>
                        <a:cubicBezTo>
                          <a:pt x="0" y="10"/>
                          <a:pt x="0" y="10"/>
                          <a:pt x="0" y="10"/>
                        </a:cubicBezTo>
                        <a:cubicBezTo>
                          <a:pt x="0" y="627"/>
                          <a:pt x="0" y="627"/>
                          <a:pt x="0" y="627"/>
                        </a:cubicBezTo>
                        <a:cubicBezTo>
                          <a:pt x="54" y="617"/>
                          <a:pt x="54" y="617"/>
                          <a:pt x="54" y="617"/>
                        </a:cubicBezTo>
                        <a:cubicBezTo>
                          <a:pt x="54" y="617"/>
                          <a:pt x="54" y="617"/>
                          <a:pt x="54" y="617"/>
                        </a:cubicBezTo>
                        <a:cubicBezTo>
                          <a:pt x="54" y="617"/>
                          <a:pt x="81" y="612"/>
                          <a:pt x="80" y="586"/>
                        </a:cubicBezTo>
                        <a:cubicBezTo>
                          <a:pt x="79" y="567"/>
                          <a:pt x="54" y="575"/>
                          <a:pt x="54" y="575"/>
                        </a:cubicBezTo>
                        <a:close/>
                      </a:path>
                    </a:pathLst>
                  </a:custGeom>
                  <a:solidFill>
                    <a:schemeClr val="accent4">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82" name="任意多边形 59"/>
                  <p:cNvSpPr>
                    <a:spLocks/>
                  </p:cNvSpPr>
                  <p:nvPr/>
                </p:nvSpPr>
                <p:spPr bwMode="auto">
                  <a:xfrm>
                    <a:off x="11237428" y="4866154"/>
                    <a:ext cx="235435" cy="285120"/>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4">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83" name="任意多边形 60"/>
                  <p:cNvSpPr>
                    <a:spLocks/>
                  </p:cNvSpPr>
                  <p:nvPr/>
                </p:nvSpPr>
                <p:spPr bwMode="auto">
                  <a:xfrm>
                    <a:off x="11237428" y="5240231"/>
                    <a:ext cx="235435" cy="285120"/>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4">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grpSp>
            <p:grpSp>
              <p:nvGrpSpPr>
                <p:cNvPr id="77" name="组合 76"/>
                <p:cNvGrpSpPr/>
                <p:nvPr/>
              </p:nvGrpSpPr>
              <p:grpSpPr>
                <a:xfrm>
                  <a:off x="8096836" y="1722268"/>
                  <a:ext cx="2280180" cy="3656176"/>
                  <a:chOff x="8096836" y="1722268"/>
                  <a:chExt cx="2280180" cy="3656176"/>
                </a:xfrm>
              </p:grpSpPr>
              <p:sp>
                <p:nvSpPr>
                  <p:cNvPr id="78" name="任意多边形 55"/>
                  <p:cNvSpPr>
                    <a:spLocks/>
                  </p:cNvSpPr>
                  <p:nvPr/>
                </p:nvSpPr>
                <p:spPr bwMode="auto">
                  <a:xfrm>
                    <a:off x="8096836" y="1722268"/>
                    <a:ext cx="2280180" cy="1410185"/>
                  </a:xfrm>
                  <a:custGeom>
                    <a:avLst/>
                    <a:gdLst/>
                    <a:ahLst/>
                    <a:cxnLst>
                      <a:cxn ang="0">
                        <a:pos x="954" y="8"/>
                      </a:cxn>
                      <a:cxn ang="0">
                        <a:pos x="954" y="8"/>
                      </a:cxn>
                      <a:cxn ang="0">
                        <a:pos x="0" y="196"/>
                      </a:cxn>
                      <a:cxn ang="0">
                        <a:pos x="0" y="813"/>
                      </a:cxn>
                      <a:cxn ang="0">
                        <a:pos x="954" y="625"/>
                      </a:cxn>
                      <a:cxn ang="0">
                        <a:pos x="980" y="636"/>
                      </a:cxn>
                      <a:cxn ang="0">
                        <a:pos x="980" y="19"/>
                      </a:cxn>
                      <a:cxn ang="0">
                        <a:pos x="954" y="8"/>
                      </a:cxn>
                    </a:cxnLst>
                    <a:rect l="0" t="0" r="r" b="b"/>
                    <a:pathLst>
                      <a:path w="980" h="813">
                        <a:moveTo>
                          <a:pt x="954" y="8"/>
                        </a:moveTo>
                        <a:cubicBezTo>
                          <a:pt x="954" y="8"/>
                          <a:pt x="954" y="8"/>
                          <a:pt x="954" y="8"/>
                        </a:cubicBezTo>
                        <a:cubicBezTo>
                          <a:pt x="0" y="196"/>
                          <a:pt x="0" y="196"/>
                          <a:pt x="0" y="196"/>
                        </a:cubicBezTo>
                        <a:cubicBezTo>
                          <a:pt x="0" y="813"/>
                          <a:pt x="0" y="813"/>
                          <a:pt x="0" y="813"/>
                        </a:cubicBezTo>
                        <a:cubicBezTo>
                          <a:pt x="954" y="625"/>
                          <a:pt x="954" y="625"/>
                          <a:pt x="954" y="625"/>
                        </a:cubicBezTo>
                        <a:cubicBezTo>
                          <a:pt x="954" y="625"/>
                          <a:pt x="979" y="617"/>
                          <a:pt x="980" y="636"/>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79" name="任意多边形 56"/>
                  <p:cNvSpPr>
                    <a:spLocks/>
                  </p:cNvSpPr>
                  <p:nvPr/>
                </p:nvSpPr>
                <p:spPr bwMode="auto">
                  <a:xfrm>
                    <a:off x="8096836" y="4529788"/>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80" name="任意多边形 57"/>
                  <p:cNvSpPr>
                    <a:spLocks/>
                  </p:cNvSpPr>
                  <p:nvPr/>
                </p:nvSpPr>
                <p:spPr bwMode="auto">
                  <a:xfrm>
                    <a:off x="8096836" y="4827817"/>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grpSp>
          </p:grpSp>
          <p:sp>
            <p:nvSpPr>
              <p:cNvPr id="73" name="椭圆 72"/>
              <p:cNvSpPr/>
              <p:nvPr/>
            </p:nvSpPr>
            <p:spPr bwMode="auto">
              <a:xfrm>
                <a:off x="7536062" y="2096622"/>
                <a:ext cx="750290" cy="697823"/>
              </a:xfrm>
              <a:prstGeom prst="ellipse">
                <a:avLst/>
              </a:prstGeom>
              <a:solidFill>
                <a:schemeClr val="bg1"/>
              </a:solidFill>
              <a:ln w="19050">
                <a:solidFill>
                  <a:schemeClr val="accent4">
                    <a:lumMod val="75000"/>
                  </a:schemeClr>
                </a:solidFill>
                <a:round/>
                <a:headEnd/>
                <a:tailEnd/>
              </a:ln>
            </p:spPr>
            <p:txBody>
              <a:bodyPr anchor="ctr"/>
              <a:lstStyle/>
              <a:p>
                <a:pPr algn="ctr"/>
                <a:endParaRPr dirty="0">
                  <a:latin typeface="微软雅黑" panose="020B0503020204020204" pitchFamily="34" charset="-122"/>
                  <a:ea typeface="微软雅黑" panose="020B0503020204020204" pitchFamily="34" charset="-122"/>
                </a:endParaRPr>
              </a:p>
            </p:txBody>
          </p:sp>
          <p:sp>
            <p:nvSpPr>
              <p:cNvPr id="74" name="任意多边形 128"/>
              <p:cNvSpPr>
                <a:spLocks/>
              </p:cNvSpPr>
              <p:nvPr/>
            </p:nvSpPr>
            <p:spPr bwMode="auto">
              <a:xfrm>
                <a:off x="7694327" y="2258358"/>
                <a:ext cx="433761" cy="374353"/>
              </a:xfrm>
              <a:custGeom>
                <a:avLst/>
                <a:gdLst>
                  <a:gd name="connsiteX0" fmla="*/ 375037 w 433761"/>
                  <a:gd name="connsiteY0" fmla="*/ 292577 h 374353"/>
                  <a:gd name="connsiteX1" fmla="*/ 364399 w 433761"/>
                  <a:gd name="connsiteY1" fmla="*/ 302269 h 374353"/>
                  <a:gd name="connsiteX2" fmla="*/ 375037 w 433761"/>
                  <a:gd name="connsiteY2" fmla="*/ 311961 h 374353"/>
                  <a:gd name="connsiteX3" fmla="*/ 390993 w 433761"/>
                  <a:gd name="connsiteY3" fmla="*/ 302269 h 374353"/>
                  <a:gd name="connsiteX4" fmla="*/ 375037 w 433761"/>
                  <a:gd name="connsiteY4" fmla="*/ 292577 h 374353"/>
                  <a:gd name="connsiteX5" fmla="*/ 186009 w 433761"/>
                  <a:gd name="connsiteY5" fmla="*/ 292577 h 374353"/>
                  <a:gd name="connsiteX6" fmla="*/ 175459 w 433761"/>
                  <a:gd name="connsiteY6" fmla="*/ 302269 h 374353"/>
                  <a:gd name="connsiteX7" fmla="*/ 186009 w 433761"/>
                  <a:gd name="connsiteY7" fmla="*/ 311961 h 374353"/>
                  <a:gd name="connsiteX8" fmla="*/ 201836 w 433761"/>
                  <a:gd name="connsiteY8" fmla="*/ 302269 h 374353"/>
                  <a:gd name="connsiteX9" fmla="*/ 186009 w 433761"/>
                  <a:gd name="connsiteY9" fmla="*/ 292577 h 374353"/>
                  <a:gd name="connsiteX10" fmla="*/ 96018 w 433761"/>
                  <a:gd name="connsiteY10" fmla="*/ 263501 h 374353"/>
                  <a:gd name="connsiteX11" fmla="*/ 106625 w 433761"/>
                  <a:gd name="connsiteY11" fmla="*/ 292577 h 374353"/>
                  <a:gd name="connsiteX12" fmla="*/ 117232 w 433761"/>
                  <a:gd name="connsiteY12" fmla="*/ 307115 h 374353"/>
                  <a:gd name="connsiteX13" fmla="*/ 117232 w 433761"/>
                  <a:gd name="connsiteY13" fmla="*/ 321653 h 374353"/>
                  <a:gd name="connsiteX14" fmla="*/ 42985 w 433761"/>
                  <a:gd name="connsiteY14" fmla="*/ 273193 h 374353"/>
                  <a:gd name="connsiteX15" fmla="*/ 96018 w 433761"/>
                  <a:gd name="connsiteY15" fmla="*/ 263501 h 374353"/>
                  <a:gd name="connsiteX16" fmla="*/ 280471 w 433761"/>
                  <a:gd name="connsiteY16" fmla="*/ 258049 h 374353"/>
                  <a:gd name="connsiteX17" fmla="*/ 285622 w 433761"/>
                  <a:gd name="connsiteY17" fmla="*/ 258049 h 374353"/>
                  <a:gd name="connsiteX18" fmla="*/ 290773 w 433761"/>
                  <a:gd name="connsiteY18" fmla="*/ 258049 h 374353"/>
                  <a:gd name="connsiteX19" fmla="*/ 290773 w 433761"/>
                  <a:gd name="connsiteY19" fmla="*/ 262966 h 374353"/>
                  <a:gd name="connsiteX20" fmla="*/ 295925 w 433761"/>
                  <a:gd name="connsiteY20" fmla="*/ 267884 h 374353"/>
                  <a:gd name="connsiteX21" fmla="*/ 311378 w 433761"/>
                  <a:gd name="connsiteY21" fmla="*/ 277718 h 374353"/>
                  <a:gd name="connsiteX22" fmla="*/ 311378 w 433761"/>
                  <a:gd name="connsiteY22" fmla="*/ 282635 h 374353"/>
                  <a:gd name="connsiteX23" fmla="*/ 306227 w 433761"/>
                  <a:gd name="connsiteY23" fmla="*/ 282635 h 374353"/>
                  <a:gd name="connsiteX24" fmla="*/ 301076 w 433761"/>
                  <a:gd name="connsiteY24" fmla="*/ 282635 h 374353"/>
                  <a:gd name="connsiteX25" fmla="*/ 295925 w 433761"/>
                  <a:gd name="connsiteY25" fmla="*/ 277718 h 374353"/>
                  <a:gd name="connsiteX26" fmla="*/ 285622 w 433761"/>
                  <a:gd name="connsiteY26" fmla="*/ 277718 h 374353"/>
                  <a:gd name="connsiteX27" fmla="*/ 280471 w 433761"/>
                  <a:gd name="connsiteY27" fmla="*/ 277718 h 374353"/>
                  <a:gd name="connsiteX28" fmla="*/ 275320 w 433761"/>
                  <a:gd name="connsiteY28" fmla="*/ 287553 h 374353"/>
                  <a:gd name="connsiteX29" fmla="*/ 285622 w 433761"/>
                  <a:gd name="connsiteY29" fmla="*/ 292470 h 374353"/>
                  <a:gd name="connsiteX30" fmla="*/ 290773 w 433761"/>
                  <a:gd name="connsiteY30" fmla="*/ 297387 h 374353"/>
                  <a:gd name="connsiteX31" fmla="*/ 311378 w 433761"/>
                  <a:gd name="connsiteY31" fmla="*/ 312139 h 374353"/>
                  <a:gd name="connsiteX32" fmla="*/ 306227 w 433761"/>
                  <a:gd name="connsiteY32" fmla="*/ 331808 h 374353"/>
                  <a:gd name="connsiteX33" fmla="*/ 290773 w 433761"/>
                  <a:gd name="connsiteY33" fmla="*/ 336725 h 374353"/>
                  <a:gd name="connsiteX34" fmla="*/ 290773 w 433761"/>
                  <a:gd name="connsiteY34" fmla="*/ 341642 h 374353"/>
                  <a:gd name="connsiteX35" fmla="*/ 285622 w 433761"/>
                  <a:gd name="connsiteY35" fmla="*/ 341642 h 374353"/>
                  <a:gd name="connsiteX36" fmla="*/ 280471 w 433761"/>
                  <a:gd name="connsiteY36" fmla="*/ 341642 h 374353"/>
                  <a:gd name="connsiteX37" fmla="*/ 280471 w 433761"/>
                  <a:gd name="connsiteY37" fmla="*/ 336725 h 374353"/>
                  <a:gd name="connsiteX38" fmla="*/ 265017 w 433761"/>
                  <a:gd name="connsiteY38" fmla="*/ 326890 h 374353"/>
                  <a:gd name="connsiteX39" fmla="*/ 265017 w 433761"/>
                  <a:gd name="connsiteY39" fmla="*/ 321973 h 374353"/>
                  <a:gd name="connsiteX40" fmla="*/ 270169 w 433761"/>
                  <a:gd name="connsiteY40" fmla="*/ 317056 h 374353"/>
                  <a:gd name="connsiteX41" fmla="*/ 275320 w 433761"/>
                  <a:gd name="connsiteY41" fmla="*/ 317056 h 374353"/>
                  <a:gd name="connsiteX42" fmla="*/ 280471 w 433761"/>
                  <a:gd name="connsiteY42" fmla="*/ 321973 h 374353"/>
                  <a:gd name="connsiteX43" fmla="*/ 290773 w 433761"/>
                  <a:gd name="connsiteY43" fmla="*/ 321973 h 374353"/>
                  <a:gd name="connsiteX44" fmla="*/ 295925 w 433761"/>
                  <a:gd name="connsiteY44" fmla="*/ 321973 h 374353"/>
                  <a:gd name="connsiteX45" fmla="*/ 301076 w 433761"/>
                  <a:gd name="connsiteY45" fmla="*/ 312139 h 374353"/>
                  <a:gd name="connsiteX46" fmla="*/ 295925 w 433761"/>
                  <a:gd name="connsiteY46" fmla="*/ 312139 h 374353"/>
                  <a:gd name="connsiteX47" fmla="*/ 290773 w 433761"/>
                  <a:gd name="connsiteY47" fmla="*/ 307221 h 374353"/>
                  <a:gd name="connsiteX48" fmla="*/ 270169 w 433761"/>
                  <a:gd name="connsiteY48" fmla="*/ 297387 h 374353"/>
                  <a:gd name="connsiteX49" fmla="*/ 265017 w 433761"/>
                  <a:gd name="connsiteY49" fmla="*/ 292470 h 374353"/>
                  <a:gd name="connsiteX50" fmla="*/ 270169 w 433761"/>
                  <a:gd name="connsiteY50" fmla="*/ 272801 h 374353"/>
                  <a:gd name="connsiteX51" fmla="*/ 280471 w 433761"/>
                  <a:gd name="connsiteY51" fmla="*/ 262966 h 374353"/>
                  <a:gd name="connsiteX52" fmla="*/ 280471 w 433761"/>
                  <a:gd name="connsiteY52" fmla="*/ 258049 h 374353"/>
                  <a:gd name="connsiteX53" fmla="*/ 316528 w 433761"/>
                  <a:gd name="connsiteY53" fmla="*/ 248963 h 374353"/>
                  <a:gd name="connsiteX54" fmla="*/ 396312 w 433761"/>
                  <a:gd name="connsiteY54" fmla="*/ 248963 h 374353"/>
                  <a:gd name="connsiteX55" fmla="*/ 396312 w 433761"/>
                  <a:gd name="connsiteY55" fmla="*/ 253809 h 374353"/>
                  <a:gd name="connsiteX56" fmla="*/ 406950 w 433761"/>
                  <a:gd name="connsiteY56" fmla="*/ 268347 h 374353"/>
                  <a:gd name="connsiteX57" fmla="*/ 412269 w 433761"/>
                  <a:gd name="connsiteY57" fmla="*/ 268347 h 374353"/>
                  <a:gd name="connsiteX58" fmla="*/ 412269 w 433761"/>
                  <a:gd name="connsiteY58" fmla="*/ 336191 h 374353"/>
                  <a:gd name="connsiteX59" fmla="*/ 406950 w 433761"/>
                  <a:gd name="connsiteY59" fmla="*/ 336191 h 374353"/>
                  <a:gd name="connsiteX60" fmla="*/ 396312 w 433761"/>
                  <a:gd name="connsiteY60" fmla="*/ 350729 h 374353"/>
                  <a:gd name="connsiteX61" fmla="*/ 321847 w 433761"/>
                  <a:gd name="connsiteY61" fmla="*/ 350729 h 374353"/>
                  <a:gd name="connsiteX62" fmla="*/ 348442 w 433761"/>
                  <a:gd name="connsiteY62" fmla="*/ 302269 h 374353"/>
                  <a:gd name="connsiteX63" fmla="*/ 316528 w 433761"/>
                  <a:gd name="connsiteY63" fmla="*/ 248963 h 374353"/>
                  <a:gd name="connsiteX64" fmla="*/ 170183 w 433761"/>
                  <a:gd name="connsiteY64" fmla="*/ 248963 h 374353"/>
                  <a:gd name="connsiteX65" fmla="*/ 259866 w 433761"/>
                  <a:gd name="connsiteY65" fmla="*/ 248963 h 374353"/>
                  <a:gd name="connsiteX66" fmla="*/ 228214 w 433761"/>
                  <a:gd name="connsiteY66" fmla="*/ 302269 h 374353"/>
                  <a:gd name="connsiteX67" fmla="*/ 254591 w 433761"/>
                  <a:gd name="connsiteY67" fmla="*/ 350729 h 374353"/>
                  <a:gd name="connsiteX68" fmla="*/ 170183 w 433761"/>
                  <a:gd name="connsiteY68" fmla="*/ 350729 h 374353"/>
                  <a:gd name="connsiteX69" fmla="*/ 159632 w 433761"/>
                  <a:gd name="connsiteY69" fmla="*/ 336191 h 374353"/>
                  <a:gd name="connsiteX70" fmla="*/ 154357 w 433761"/>
                  <a:gd name="connsiteY70" fmla="*/ 336191 h 374353"/>
                  <a:gd name="connsiteX71" fmla="*/ 154357 w 433761"/>
                  <a:gd name="connsiteY71" fmla="*/ 268347 h 374353"/>
                  <a:gd name="connsiteX72" fmla="*/ 159632 w 433761"/>
                  <a:gd name="connsiteY72" fmla="*/ 268347 h 374353"/>
                  <a:gd name="connsiteX73" fmla="*/ 170183 w 433761"/>
                  <a:gd name="connsiteY73" fmla="*/ 253809 h 374353"/>
                  <a:gd name="connsiteX74" fmla="*/ 170183 w 433761"/>
                  <a:gd name="connsiteY74" fmla="*/ 248963 h 374353"/>
                  <a:gd name="connsiteX75" fmla="*/ 142633 w 433761"/>
                  <a:gd name="connsiteY75" fmla="*/ 238059 h 374353"/>
                  <a:gd name="connsiteX76" fmla="*/ 142633 w 433761"/>
                  <a:gd name="connsiteY76" fmla="*/ 359815 h 374353"/>
                  <a:gd name="connsiteX77" fmla="*/ 422038 w 433761"/>
                  <a:gd name="connsiteY77" fmla="*/ 359815 h 374353"/>
                  <a:gd name="connsiteX78" fmla="*/ 422038 w 433761"/>
                  <a:gd name="connsiteY78" fmla="*/ 238059 h 374353"/>
                  <a:gd name="connsiteX79" fmla="*/ 132864 w 433761"/>
                  <a:gd name="connsiteY79" fmla="*/ 228973 h 374353"/>
                  <a:gd name="connsiteX80" fmla="*/ 433761 w 433761"/>
                  <a:gd name="connsiteY80" fmla="*/ 228973 h 374353"/>
                  <a:gd name="connsiteX81" fmla="*/ 433761 w 433761"/>
                  <a:gd name="connsiteY81" fmla="*/ 374353 h 374353"/>
                  <a:gd name="connsiteX82" fmla="*/ 132864 w 433761"/>
                  <a:gd name="connsiteY82" fmla="*/ 374353 h 374353"/>
                  <a:gd name="connsiteX83" fmla="*/ 290517 w 433761"/>
                  <a:gd name="connsiteY83" fmla="*/ 174456 h 374353"/>
                  <a:gd name="connsiteX84" fmla="*/ 369283 w 433761"/>
                  <a:gd name="connsiteY84" fmla="*/ 174456 h 374353"/>
                  <a:gd name="connsiteX85" fmla="*/ 358781 w 433761"/>
                  <a:gd name="connsiteY85" fmla="*/ 219887 h 374353"/>
                  <a:gd name="connsiteX86" fmla="*/ 285266 w 433761"/>
                  <a:gd name="connsiteY86" fmla="*/ 219887 h 374353"/>
                  <a:gd name="connsiteX87" fmla="*/ 290517 w 433761"/>
                  <a:gd name="connsiteY87" fmla="*/ 174456 h 374353"/>
                  <a:gd name="connsiteX88" fmla="*/ 195388 w 433761"/>
                  <a:gd name="connsiteY88" fmla="*/ 174456 h 374353"/>
                  <a:gd name="connsiteX89" fmla="*/ 269635 w 433761"/>
                  <a:gd name="connsiteY89" fmla="*/ 174456 h 374353"/>
                  <a:gd name="connsiteX90" fmla="*/ 264332 w 433761"/>
                  <a:gd name="connsiteY90" fmla="*/ 219887 h 374353"/>
                  <a:gd name="connsiteX91" fmla="*/ 195388 w 433761"/>
                  <a:gd name="connsiteY91" fmla="*/ 219887 h 374353"/>
                  <a:gd name="connsiteX92" fmla="*/ 195388 w 433761"/>
                  <a:gd name="connsiteY92" fmla="*/ 174456 h 374353"/>
                  <a:gd name="connsiteX93" fmla="*/ 101602 w 433761"/>
                  <a:gd name="connsiteY93" fmla="*/ 174456 h 374353"/>
                  <a:gd name="connsiteX94" fmla="*/ 173896 w 433761"/>
                  <a:gd name="connsiteY94" fmla="*/ 174456 h 374353"/>
                  <a:gd name="connsiteX95" fmla="*/ 173896 w 433761"/>
                  <a:gd name="connsiteY95" fmla="*/ 218489 h 374353"/>
                  <a:gd name="connsiteX96" fmla="*/ 117093 w 433761"/>
                  <a:gd name="connsiteY96" fmla="*/ 218489 h 374353"/>
                  <a:gd name="connsiteX97" fmla="*/ 117093 w 433761"/>
                  <a:gd name="connsiteY97" fmla="*/ 238059 h 374353"/>
                  <a:gd name="connsiteX98" fmla="*/ 111929 w 433761"/>
                  <a:gd name="connsiteY98" fmla="*/ 238059 h 374353"/>
                  <a:gd name="connsiteX99" fmla="*/ 101602 w 433761"/>
                  <a:gd name="connsiteY99" fmla="*/ 174456 h 374353"/>
                  <a:gd name="connsiteX100" fmla="*/ 0 w 433761"/>
                  <a:gd name="connsiteY100" fmla="*/ 174456 h 374353"/>
                  <a:gd name="connsiteX101" fmla="*/ 79304 w 433761"/>
                  <a:gd name="connsiteY101" fmla="*/ 174456 h 374353"/>
                  <a:gd name="connsiteX102" fmla="*/ 89878 w 433761"/>
                  <a:gd name="connsiteY102" fmla="*/ 243297 h 374353"/>
                  <a:gd name="connsiteX103" fmla="*/ 31721 w 433761"/>
                  <a:gd name="connsiteY103" fmla="*/ 258049 h 374353"/>
                  <a:gd name="connsiteX104" fmla="*/ 0 w 433761"/>
                  <a:gd name="connsiteY104" fmla="*/ 174456 h 374353"/>
                  <a:gd name="connsiteX105" fmla="*/ 259029 w 433761"/>
                  <a:gd name="connsiteY105" fmla="*/ 92680 h 374353"/>
                  <a:gd name="connsiteX106" fmla="*/ 269635 w 433761"/>
                  <a:gd name="connsiteY106" fmla="*/ 156283 h 374353"/>
                  <a:gd name="connsiteX107" fmla="*/ 195388 w 433761"/>
                  <a:gd name="connsiteY107" fmla="*/ 156283 h 374353"/>
                  <a:gd name="connsiteX108" fmla="*/ 195388 w 433761"/>
                  <a:gd name="connsiteY108" fmla="*/ 97572 h 374353"/>
                  <a:gd name="connsiteX109" fmla="*/ 259029 w 433761"/>
                  <a:gd name="connsiteY109" fmla="*/ 92680 h 374353"/>
                  <a:gd name="connsiteX110" fmla="*/ 111929 w 433761"/>
                  <a:gd name="connsiteY110" fmla="*/ 92680 h 374353"/>
                  <a:gd name="connsiteX111" fmla="*/ 173896 w 433761"/>
                  <a:gd name="connsiteY111" fmla="*/ 97572 h 374353"/>
                  <a:gd name="connsiteX112" fmla="*/ 173896 w 433761"/>
                  <a:gd name="connsiteY112" fmla="*/ 156283 h 374353"/>
                  <a:gd name="connsiteX113" fmla="*/ 101602 w 433761"/>
                  <a:gd name="connsiteY113" fmla="*/ 156283 h 374353"/>
                  <a:gd name="connsiteX114" fmla="*/ 111929 w 433761"/>
                  <a:gd name="connsiteY114" fmla="*/ 92680 h 374353"/>
                  <a:gd name="connsiteX115" fmla="*/ 337562 w 433761"/>
                  <a:gd name="connsiteY115" fmla="*/ 72690 h 374353"/>
                  <a:gd name="connsiteX116" fmla="*/ 369283 w 433761"/>
                  <a:gd name="connsiteY116" fmla="*/ 156283 h 374353"/>
                  <a:gd name="connsiteX117" fmla="*/ 289979 w 433761"/>
                  <a:gd name="connsiteY117" fmla="*/ 156283 h 374353"/>
                  <a:gd name="connsiteX118" fmla="*/ 279405 w 433761"/>
                  <a:gd name="connsiteY118" fmla="*/ 87442 h 374353"/>
                  <a:gd name="connsiteX119" fmla="*/ 337562 w 433761"/>
                  <a:gd name="connsiteY119" fmla="*/ 72690 h 374353"/>
                  <a:gd name="connsiteX120" fmla="*/ 31721 w 433761"/>
                  <a:gd name="connsiteY120" fmla="*/ 72690 h 374353"/>
                  <a:gd name="connsiteX121" fmla="*/ 89878 w 433761"/>
                  <a:gd name="connsiteY121" fmla="*/ 87442 h 374353"/>
                  <a:gd name="connsiteX122" fmla="*/ 79304 w 433761"/>
                  <a:gd name="connsiteY122" fmla="*/ 156283 h 374353"/>
                  <a:gd name="connsiteX123" fmla="*/ 0 w 433761"/>
                  <a:gd name="connsiteY123" fmla="*/ 156283 h 374353"/>
                  <a:gd name="connsiteX124" fmla="*/ 31721 w 433761"/>
                  <a:gd name="connsiteY124" fmla="*/ 72690 h 374353"/>
                  <a:gd name="connsiteX125" fmla="*/ 195388 w 433761"/>
                  <a:gd name="connsiteY125" fmla="*/ 9087 h 374353"/>
                  <a:gd name="connsiteX126" fmla="*/ 216703 w 433761"/>
                  <a:gd name="connsiteY126" fmla="*/ 18952 h 374353"/>
                  <a:gd name="connsiteX127" fmla="*/ 254004 w 433761"/>
                  <a:gd name="connsiteY127" fmla="*/ 73209 h 374353"/>
                  <a:gd name="connsiteX128" fmla="*/ 195388 w 433761"/>
                  <a:gd name="connsiteY128" fmla="*/ 78142 h 374353"/>
                  <a:gd name="connsiteX129" fmla="*/ 195388 w 433761"/>
                  <a:gd name="connsiteY129" fmla="*/ 9087 h 374353"/>
                  <a:gd name="connsiteX130" fmla="*/ 173896 w 433761"/>
                  <a:gd name="connsiteY130" fmla="*/ 9087 h 374353"/>
                  <a:gd name="connsiteX131" fmla="*/ 173896 w 433761"/>
                  <a:gd name="connsiteY131" fmla="*/ 78142 h 374353"/>
                  <a:gd name="connsiteX132" fmla="*/ 117233 w 433761"/>
                  <a:gd name="connsiteY132" fmla="*/ 73209 h 374353"/>
                  <a:gd name="connsiteX133" fmla="*/ 127535 w 433761"/>
                  <a:gd name="connsiteY133" fmla="*/ 53479 h 374353"/>
                  <a:gd name="connsiteX134" fmla="*/ 153291 w 433761"/>
                  <a:gd name="connsiteY134" fmla="*/ 18952 h 374353"/>
                  <a:gd name="connsiteX135" fmla="*/ 173896 w 433761"/>
                  <a:gd name="connsiteY135" fmla="*/ 9087 h 374353"/>
                  <a:gd name="connsiteX136" fmla="*/ 226650 w 433761"/>
                  <a:gd name="connsiteY136" fmla="*/ 0 h 374353"/>
                  <a:gd name="connsiteX137" fmla="*/ 328252 w 433761"/>
                  <a:gd name="connsiteY137" fmla="*/ 57632 h 374353"/>
                  <a:gd name="connsiteX138" fmla="*/ 274778 w 433761"/>
                  <a:gd name="connsiteY138" fmla="*/ 67238 h 374353"/>
                  <a:gd name="connsiteX139" fmla="*/ 264083 w 433761"/>
                  <a:gd name="connsiteY139" fmla="*/ 43224 h 374353"/>
                  <a:gd name="connsiteX140" fmla="*/ 226650 w 433761"/>
                  <a:gd name="connsiteY140" fmla="*/ 4803 h 374353"/>
                  <a:gd name="connsiteX141" fmla="*/ 226650 w 433761"/>
                  <a:gd name="connsiteY141" fmla="*/ 0 h 374353"/>
                  <a:gd name="connsiteX142" fmla="*/ 142633 w 433761"/>
                  <a:gd name="connsiteY142" fmla="*/ 0 h 374353"/>
                  <a:gd name="connsiteX143" fmla="*/ 142633 w 433761"/>
                  <a:gd name="connsiteY143" fmla="*/ 4803 h 374353"/>
                  <a:gd name="connsiteX144" fmla="*/ 95431 w 433761"/>
                  <a:gd name="connsiteY144" fmla="*/ 67238 h 374353"/>
                  <a:gd name="connsiteX145" fmla="*/ 42985 w 433761"/>
                  <a:gd name="connsiteY145" fmla="*/ 57632 h 374353"/>
                  <a:gd name="connsiteX146" fmla="*/ 142633 w 433761"/>
                  <a:gd name="connsiteY146" fmla="*/ 0 h 374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433761" h="374353">
                    <a:moveTo>
                      <a:pt x="375037" y="292577"/>
                    </a:moveTo>
                    <a:cubicBezTo>
                      <a:pt x="369718" y="292577"/>
                      <a:pt x="364399" y="297423"/>
                      <a:pt x="364399" y="302269"/>
                    </a:cubicBezTo>
                    <a:cubicBezTo>
                      <a:pt x="364399" y="307115"/>
                      <a:pt x="369718" y="311961"/>
                      <a:pt x="375037" y="311961"/>
                    </a:cubicBezTo>
                    <a:cubicBezTo>
                      <a:pt x="385675" y="311961"/>
                      <a:pt x="390993" y="307115"/>
                      <a:pt x="390993" y="302269"/>
                    </a:cubicBezTo>
                    <a:cubicBezTo>
                      <a:pt x="390993" y="297423"/>
                      <a:pt x="385675" y="292577"/>
                      <a:pt x="375037" y="292577"/>
                    </a:cubicBezTo>
                    <a:close/>
                    <a:moveTo>
                      <a:pt x="186009" y="292577"/>
                    </a:moveTo>
                    <a:cubicBezTo>
                      <a:pt x="180734" y="292577"/>
                      <a:pt x="175459" y="297423"/>
                      <a:pt x="175459" y="302269"/>
                    </a:cubicBezTo>
                    <a:cubicBezTo>
                      <a:pt x="175459" y="307115"/>
                      <a:pt x="180734" y="311961"/>
                      <a:pt x="186009" y="311961"/>
                    </a:cubicBezTo>
                    <a:cubicBezTo>
                      <a:pt x="196561" y="311961"/>
                      <a:pt x="201836" y="307115"/>
                      <a:pt x="201836" y="302269"/>
                    </a:cubicBezTo>
                    <a:cubicBezTo>
                      <a:pt x="201836" y="297423"/>
                      <a:pt x="196561" y="292577"/>
                      <a:pt x="186009" y="292577"/>
                    </a:cubicBezTo>
                    <a:close/>
                    <a:moveTo>
                      <a:pt x="96018" y="263501"/>
                    </a:moveTo>
                    <a:cubicBezTo>
                      <a:pt x="101322" y="273193"/>
                      <a:pt x="106625" y="282885"/>
                      <a:pt x="106625" y="292577"/>
                    </a:cubicBezTo>
                    <a:cubicBezTo>
                      <a:pt x="111928" y="297423"/>
                      <a:pt x="117232" y="302269"/>
                      <a:pt x="117232" y="307115"/>
                    </a:cubicBezTo>
                    <a:cubicBezTo>
                      <a:pt x="117232" y="307115"/>
                      <a:pt x="117232" y="307115"/>
                      <a:pt x="117232" y="321653"/>
                    </a:cubicBezTo>
                    <a:cubicBezTo>
                      <a:pt x="90715" y="311961"/>
                      <a:pt x="64198" y="297423"/>
                      <a:pt x="42985" y="273193"/>
                    </a:cubicBezTo>
                    <a:cubicBezTo>
                      <a:pt x="64198" y="268347"/>
                      <a:pt x="80108" y="268347"/>
                      <a:pt x="96018" y="263501"/>
                    </a:cubicBezTo>
                    <a:close/>
                    <a:moveTo>
                      <a:pt x="280471" y="258049"/>
                    </a:moveTo>
                    <a:cubicBezTo>
                      <a:pt x="280471" y="258049"/>
                      <a:pt x="280471" y="258049"/>
                      <a:pt x="285622" y="258049"/>
                    </a:cubicBezTo>
                    <a:cubicBezTo>
                      <a:pt x="285622" y="258049"/>
                      <a:pt x="285622" y="258049"/>
                      <a:pt x="290773" y="258049"/>
                    </a:cubicBezTo>
                    <a:cubicBezTo>
                      <a:pt x="290773" y="258049"/>
                      <a:pt x="290773" y="258049"/>
                      <a:pt x="290773" y="262966"/>
                    </a:cubicBezTo>
                    <a:cubicBezTo>
                      <a:pt x="290773" y="262966"/>
                      <a:pt x="290773" y="262966"/>
                      <a:pt x="295925" y="267884"/>
                    </a:cubicBezTo>
                    <a:cubicBezTo>
                      <a:pt x="301076" y="267884"/>
                      <a:pt x="311378" y="272801"/>
                      <a:pt x="311378" y="277718"/>
                    </a:cubicBezTo>
                    <a:cubicBezTo>
                      <a:pt x="311378" y="277718"/>
                      <a:pt x="311378" y="277718"/>
                      <a:pt x="311378" y="282635"/>
                    </a:cubicBezTo>
                    <a:cubicBezTo>
                      <a:pt x="311378" y="282635"/>
                      <a:pt x="306227" y="282635"/>
                      <a:pt x="306227" y="282635"/>
                    </a:cubicBezTo>
                    <a:cubicBezTo>
                      <a:pt x="306227" y="282635"/>
                      <a:pt x="306227" y="282635"/>
                      <a:pt x="301076" y="282635"/>
                    </a:cubicBezTo>
                    <a:cubicBezTo>
                      <a:pt x="301076" y="282635"/>
                      <a:pt x="301076" y="282635"/>
                      <a:pt x="295925" y="277718"/>
                    </a:cubicBezTo>
                    <a:cubicBezTo>
                      <a:pt x="290773" y="277718"/>
                      <a:pt x="290773" y="277718"/>
                      <a:pt x="285622" y="277718"/>
                    </a:cubicBezTo>
                    <a:cubicBezTo>
                      <a:pt x="285622" y="277718"/>
                      <a:pt x="280471" y="277718"/>
                      <a:pt x="280471" y="277718"/>
                    </a:cubicBezTo>
                    <a:cubicBezTo>
                      <a:pt x="275320" y="282635"/>
                      <a:pt x="275320" y="282635"/>
                      <a:pt x="275320" y="287553"/>
                    </a:cubicBezTo>
                    <a:cubicBezTo>
                      <a:pt x="280471" y="287553"/>
                      <a:pt x="280471" y="292470"/>
                      <a:pt x="285622" y="292470"/>
                    </a:cubicBezTo>
                    <a:cubicBezTo>
                      <a:pt x="285622" y="292470"/>
                      <a:pt x="290773" y="292470"/>
                      <a:pt x="290773" y="297387"/>
                    </a:cubicBezTo>
                    <a:cubicBezTo>
                      <a:pt x="301076" y="297387"/>
                      <a:pt x="311378" y="302304"/>
                      <a:pt x="311378" y="312139"/>
                    </a:cubicBezTo>
                    <a:cubicBezTo>
                      <a:pt x="316529" y="317056"/>
                      <a:pt x="316529" y="326890"/>
                      <a:pt x="306227" y="331808"/>
                    </a:cubicBezTo>
                    <a:cubicBezTo>
                      <a:pt x="306227" y="331808"/>
                      <a:pt x="301076" y="336725"/>
                      <a:pt x="290773" y="336725"/>
                    </a:cubicBezTo>
                    <a:cubicBezTo>
                      <a:pt x="290773" y="336725"/>
                      <a:pt x="290773" y="336725"/>
                      <a:pt x="290773" y="341642"/>
                    </a:cubicBezTo>
                    <a:cubicBezTo>
                      <a:pt x="290773" y="341642"/>
                      <a:pt x="290773" y="341642"/>
                      <a:pt x="285622" y="341642"/>
                    </a:cubicBezTo>
                    <a:cubicBezTo>
                      <a:pt x="285622" y="341642"/>
                      <a:pt x="285622" y="341642"/>
                      <a:pt x="280471" y="341642"/>
                    </a:cubicBezTo>
                    <a:cubicBezTo>
                      <a:pt x="280471" y="341642"/>
                      <a:pt x="280471" y="341642"/>
                      <a:pt x="280471" y="336725"/>
                    </a:cubicBezTo>
                    <a:cubicBezTo>
                      <a:pt x="275320" y="331808"/>
                      <a:pt x="265017" y="331808"/>
                      <a:pt x="265017" y="326890"/>
                    </a:cubicBezTo>
                    <a:cubicBezTo>
                      <a:pt x="259866" y="321973"/>
                      <a:pt x="259866" y="321973"/>
                      <a:pt x="265017" y="321973"/>
                    </a:cubicBezTo>
                    <a:cubicBezTo>
                      <a:pt x="265017" y="317056"/>
                      <a:pt x="265017" y="317056"/>
                      <a:pt x="270169" y="317056"/>
                    </a:cubicBezTo>
                    <a:cubicBezTo>
                      <a:pt x="270169" y="317056"/>
                      <a:pt x="270169" y="317056"/>
                      <a:pt x="275320" y="317056"/>
                    </a:cubicBezTo>
                    <a:cubicBezTo>
                      <a:pt x="275320" y="321973"/>
                      <a:pt x="280471" y="321973"/>
                      <a:pt x="280471" y="321973"/>
                    </a:cubicBezTo>
                    <a:cubicBezTo>
                      <a:pt x="285622" y="321973"/>
                      <a:pt x="285622" y="321973"/>
                      <a:pt x="290773" y="321973"/>
                    </a:cubicBezTo>
                    <a:cubicBezTo>
                      <a:pt x="295925" y="321973"/>
                      <a:pt x="295925" y="321973"/>
                      <a:pt x="295925" y="321973"/>
                    </a:cubicBezTo>
                    <a:cubicBezTo>
                      <a:pt x="301076" y="321973"/>
                      <a:pt x="301076" y="317056"/>
                      <a:pt x="301076" y="312139"/>
                    </a:cubicBezTo>
                    <a:cubicBezTo>
                      <a:pt x="301076" y="312139"/>
                      <a:pt x="295925" y="312139"/>
                      <a:pt x="295925" y="312139"/>
                    </a:cubicBezTo>
                    <a:cubicBezTo>
                      <a:pt x="295925" y="312139"/>
                      <a:pt x="295925" y="312139"/>
                      <a:pt x="290773" y="307221"/>
                    </a:cubicBezTo>
                    <a:cubicBezTo>
                      <a:pt x="285622" y="307221"/>
                      <a:pt x="275320" y="302304"/>
                      <a:pt x="270169" y="297387"/>
                    </a:cubicBezTo>
                    <a:cubicBezTo>
                      <a:pt x="270169" y="297387"/>
                      <a:pt x="265017" y="297387"/>
                      <a:pt x="265017" y="292470"/>
                    </a:cubicBezTo>
                    <a:cubicBezTo>
                      <a:pt x="259866" y="287553"/>
                      <a:pt x="265017" y="277718"/>
                      <a:pt x="270169" y="272801"/>
                    </a:cubicBezTo>
                    <a:cubicBezTo>
                      <a:pt x="270169" y="267884"/>
                      <a:pt x="275320" y="267884"/>
                      <a:pt x="280471" y="262966"/>
                    </a:cubicBezTo>
                    <a:cubicBezTo>
                      <a:pt x="280471" y="262966"/>
                      <a:pt x="280471" y="262966"/>
                      <a:pt x="280471" y="258049"/>
                    </a:cubicBezTo>
                    <a:close/>
                    <a:moveTo>
                      <a:pt x="316528" y="248963"/>
                    </a:moveTo>
                    <a:cubicBezTo>
                      <a:pt x="316528" y="248963"/>
                      <a:pt x="316528" y="248963"/>
                      <a:pt x="396312" y="248963"/>
                    </a:cubicBezTo>
                    <a:cubicBezTo>
                      <a:pt x="396312" y="248963"/>
                      <a:pt x="396312" y="248963"/>
                      <a:pt x="396312" y="253809"/>
                    </a:cubicBezTo>
                    <a:cubicBezTo>
                      <a:pt x="396312" y="263501"/>
                      <a:pt x="401631" y="268347"/>
                      <a:pt x="406950" y="268347"/>
                    </a:cubicBezTo>
                    <a:cubicBezTo>
                      <a:pt x="406950" y="268347"/>
                      <a:pt x="406950" y="268347"/>
                      <a:pt x="412269" y="268347"/>
                    </a:cubicBezTo>
                    <a:cubicBezTo>
                      <a:pt x="412269" y="268347"/>
                      <a:pt x="412269" y="268347"/>
                      <a:pt x="412269" y="336191"/>
                    </a:cubicBezTo>
                    <a:cubicBezTo>
                      <a:pt x="412269" y="336191"/>
                      <a:pt x="412269" y="336191"/>
                      <a:pt x="406950" y="336191"/>
                    </a:cubicBezTo>
                    <a:cubicBezTo>
                      <a:pt x="401631" y="336191"/>
                      <a:pt x="396312" y="341037"/>
                      <a:pt x="396312" y="350729"/>
                    </a:cubicBezTo>
                    <a:cubicBezTo>
                      <a:pt x="396312" y="350729"/>
                      <a:pt x="396312" y="350729"/>
                      <a:pt x="321847" y="350729"/>
                    </a:cubicBezTo>
                    <a:cubicBezTo>
                      <a:pt x="337804" y="341037"/>
                      <a:pt x="348442" y="321653"/>
                      <a:pt x="348442" y="302269"/>
                    </a:cubicBezTo>
                    <a:cubicBezTo>
                      <a:pt x="348442" y="278039"/>
                      <a:pt x="337804" y="258655"/>
                      <a:pt x="316528" y="248963"/>
                    </a:cubicBezTo>
                    <a:close/>
                    <a:moveTo>
                      <a:pt x="170183" y="248963"/>
                    </a:moveTo>
                    <a:cubicBezTo>
                      <a:pt x="170183" y="248963"/>
                      <a:pt x="170183" y="248963"/>
                      <a:pt x="259866" y="248963"/>
                    </a:cubicBezTo>
                    <a:cubicBezTo>
                      <a:pt x="238764" y="258655"/>
                      <a:pt x="228214" y="278039"/>
                      <a:pt x="228214" y="302269"/>
                    </a:cubicBezTo>
                    <a:cubicBezTo>
                      <a:pt x="228214" y="321653"/>
                      <a:pt x="238764" y="341037"/>
                      <a:pt x="254591" y="350729"/>
                    </a:cubicBezTo>
                    <a:cubicBezTo>
                      <a:pt x="254591" y="350729"/>
                      <a:pt x="254591" y="350729"/>
                      <a:pt x="170183" y="350729"/>
                    </a:cubicBezTo>
                    <a:cubicBezTo>
                      <a:pt x="170183" y="341037"/>
                      <a:pt x="164908" y="336191"/>
                      <a:pt x="159632" y="336191"/>
                    </a:cubicBezTo>
                    <a:cubicBezTo>
                      <a:pt x="159632" y="336191"/>
                      <a:pt x="159632" y="336191"/>
                      <a:pt x="154357" y="336191"/>
                    </a:cubicBezTo>
                    <a:cubicBezTo>
                      <a:pt x="154357" y="336191"/>
                      <a:pt x="154357" y="336191"/>
                      <a:pt x="154357" y="268347"/>
                    </a:cubicBezTo>
                    <a:cubicBezTo>
                      <a:pt x="154357" y="268347"/>
                      <a:pt x="154357" y="268347"/>
                      <a:pt x="159632" y="268347"/>
                    </a:cubicBezTo>
                    <a:cubicBezTo>
                      <a:pt x="164908" y="268347"/>
                      <a:pt x="170183" y="263501"/>
                      <a:pt x="170183" y="253809"/>
                    </a:cubicBezTo>
                    <a:cubicBezTo>
                      <a:pt x="170183" y="253809"/>
                      <a:pt x="170183" y="253809"/>
                      <a:pt x="170183" y="248963"/>
                    </a:cubicBezTo>
                    <a:close/>
                    <a:moveTo>
                      <a:pt x="142633" y="238059"/>
                    </a:moveTo>
                    <a:lnTo>
                      <a:pt x="142633" y="359815"/>
                    </a:lnTo>
                    <a:lnTo>
                      <a:pt x="422038" y="359815"/>
                    </a:lnTo>
                    <a:lnTo>
                      <a:pt x="422038" y="238059"/>
                    </a:lnTo>
                    <a:close/>
                    <a:moveTo>
                      <a:pt x="132864" y="228973"/>
                    </a:moveTo>
                    <a:lnTo>
                      <a:pt x="433761" y="228973"/>
                    </a:lnTo>
                    <a:lnTo>
                      <a:pt x="433761" y="374353"/>
                    </a:lnTo>
                    <a:lnTo>
                      <a:pt x="132864" y="374353"/>
                    </a:lnTo>
                    <a:close/>
                    <a:moveTo>
                      <a:pt x="290517" y="174456"/>
                    </a:moveTo>
                    <a:cubicBezTo>
                      <a:pt x="290517" y="174456"/>
                      <a:pt x="290517" y="174456"/>
                      <a:pt x="369283" y="174456"/>
                    </a:cubicBezTo>
                    <a:cubicBezTo>
                      <a:pt x="364032" y="189600"/>
                      <a:pt x="364032" y="204743"/>
                      <a:pt x="358781" y="219887"/>
                    </a:cubicBezTo>
                    <a:cubicBezTo>
                      <a:pt x="358781" y="219887"/>
                      <a:pt x="358781" y="219887"/>
                      <a:pt x="285266" y="219887"/>
                    </a:cubicBezTo>
                    <a:cubicBezTo>
                      <a:pt x="290517" y="204743"/>
                      <a:pt x="290517" y="189600"/>
                      <a:pt x="290517" y="174456"/>
                    </a:cubicBezTo>
                    <a:close/>
                    <a:moveTo>
                      <a:pt x="195388" y="174456"/>
                    </a:moveTo>
                    <a:cubicBezTo>
                      <a:pt x="195388" y="174456"/>
                      <a:pt x="195388" y="174456"/>
                      <a:pt x="269635" y="174456"/>
                    </a:cubicBezTo>
                    <a:cubicBezTo>
                      <a:pt x="269635" y="189600"/>
                      <a:pt x="269635" y="204743"/>
                      <a:pt x="264332" y="219887"/>
                    </a:cubicBezTo>
                    <a:cubicBezTo>
                      <a:pt x="264332" y="219887"/>
                      <a:pt x="264332" y="219887"/>
                      <a:pt x="195388" y="219887"/>
                    </a:cubicBezTo>
                    <a:cubicBezTo>
                      <a:pt x="195388" y="219887"/>
                      <a:pt x="195388" y="219887"/>
                      <a:pt x="195388" y="174456"/>
                    </a:cubicBezTo>
                    <a:close/>
                    <a:moveTo>
                      <a:pt x="101602" y="174456"/>
                    </a:moveTo>
                    <a:cubicBezTo>
                      <a:pt x="101602" y="174456"/>
                      <a:pt x="101602" y="174456"/>
                      <a:pt x="173896" y="174456"/>
                    </a:cubicBezTo>
                    <a:lnTo>
                      <a:pt x="173896" y="218489"/>
                    </a:lnTo>
                    <a:cubicBezTo>
                      <a:pt x="173896" y="218489"/>
                      <a:pt x="173896" y="218489"/>
                      <a:pt x="117093" y="218489"/>
                    </a:cubicBezTo>
                    <a:cubicBezTo>
                      <a:pt x="117093" y="218489"/>
                      <a:pt x="117093" y="218489"/>
                      <a:pt x="117093" y="238059"/>
                    </a:cubicBezTo>
                    <a:cubicBezTo>
                      <a:pt x="117093" y="238059"/>
                      <a:pt x="111929" y="238059"/>
                      <a:pt x="111929" y="238059"/>
                    </a:cubicBezTo>
                    <a:cubicBezTo>
                      <a:pt x="106766" y="218489"/>
                      <a:pt x="101602" y="198919"/>
                      <a:pt x="101602" y="174456"/>
                    </a:cubicBezTo>
                    <a:close/>
                    <a:moveTo>
                      <a:pt x="0" y="174456"/>
                    </a:moveTo>
                    <a:cubicBezTo>
                      <a:pt x="0" y="174456"/>
                      <a:pt x="0" y="174456"/>
                      <a:pt x="79304" y="174456"/>
                    </a:cubicBezTo>
                    <a:cubicBezTo>
                      <a:pt x="79304" y="199042"/>
                      <a:pt x="84591" y="223628"/>
                      <a:pt x="89878" y="243297"/>
                    </a:cubicBezTo>
                    <a:cubicBezTo>
                      <a:pt x="68730" y="248215"/>
                      <a:pt x="47582" y="253132"/>
                      <a:pt x="31721" y="258049"/>
                    </a:cubicBezTo>
                    <a:cubicBezTo>
                      <a:pt x="15861" y="233463"/>
                      <a:pt x="5287" y="203960"/>
                      <a:pt x="0" y="174456"/>
                    </a:cubicBezTo>
                    <a:close/>
                    <a:moveTo>
                      <a:pt x="259029" y="92680"/>
                    </a:moveTo>
                    <a:cubicBezTo>
                      <a:pt x="264332" y="112250"/>
                      <a:pt x="269635" y="131820"/>
                      <a:pt x="269635" y="156283"/>
                    </a:cubicBezTo>
                    <a:cubicBezTo>
                      <a:pt x="269635" y="156283"/>
                      <a:pt x="269635" y="156283"/>
                      <a:pt x="195388" y="156283"/>
                    </a:cubicBezTo>
                    <a:cubicBezTo>
                      <a:pt x="195388" y="156283"/>
                      <a:pt x="195388" y="156283"/>
                      <a:pt x="195388" y="97572"/>
                    </a:cubicBezTo>
                    <a:cubicBezTo>
                      <a:pt x="216602" y="97572"/>
                      <a:pt x="237815" y="92680"/>
                      <a:pt x="259029" y="92680"/>
                    </a:cubicBezTo>
                    <a:close/>
                    <a:moveTo>
                      <a:pt x="111929" y="92680"/>
                    </a:moveTo>
                    <a:cubicBezTo>
                      <a:pt x="132585" y="92680"/>
                      <a:pt x="153240" y="97572"/>
                      <a:pt x="173896" y="97572"/>
                    </a:cubicBezTo>
                    <a:cubicBezTo>
                      <a:pt x="173896" y="97572"/>
                      <a:pt x="173896" y="97572"/>
                      <a:pt x="173896" y="156283"/>
                    </a:cubicBezTo>
                    <a:cubicBezTo>
                      <a:pt x="173896" y="156283"/>
                      <a:pt x="173896" y="156283"/>
                      <a:pt x="101602" y="156283"/>
                    </a:cubicBezTo>
                    <a:cubicBezTo>
                      <a:pt x="101602" y="131820"/>
                      <a:pt x="106766" y="112250"/>
                      <a:pt x="111929" y="92680"/>
                    </a:cubicBezTo>
                    <a:close/>
                    <a:moveTo>
                      <a:pt x="337562" y="72690"/>
                    </a:moveTo>
                    <a:cubicBezTo>
                      <a:pt x="353422" y="97276"/>
                      <a:pt x="363996" y="126779"/>
                      <a:pt x="369283" y="156283"/>
                    </a:cubicBezTo>
                    <a:cubicBezTo>
                      <a:pt x="369283" y="156283"/>
                      <a:pt x="369283" y="156283"/>
                      <a:pt x="289979" y="156283"/>
                    </a:cubicBezTo>
                    <a:cubicBezTo>
                      <a:pt x="289979" y="131697"/>
                      <a:pt x="284692" y="107111"/>
                      <a:pt x="279405" y="87442"/>
                    </a:cubicBezTo>
                    <a:cubicBezTo>
                      <a:pt x="300553" y="82524"/>
                      <a:pt x="321701" y="77607"/>
                      <a:pt x="337562" y="72690"/>
                    </a:cubicBezTo>
                    <a:close/>
                    <a:moveTo>
                      <a:pt x="31721" y="72690"/>
                    </a:moveTo>
                    <a:cubicBezTo>
                      <a:pt x="47582" y="77607"/>
                      <a:pt x="68730" y="82524"/>
                      <a:pt x="89878" y="87442"/>
                    </a:cubicBezTo>
                    <a:cubicBezTo>
                      <a:pt x="84591" y="107111"/>
                      <a:pt x="79304" y="131697"/>
                      <a:pt x="79304" y="156283"/>
                    </a:cubicBezTo>
                    <a:cubicBezTo>
                      <a:pt x="79304" y="156283"/>
                      <a:pt x="79304" y="156283"/>
                      <a:pt x="0" y="156283"/>
                    </a:cubicBezTo>
                    <a:cubicBezTo>
                      <a:pt x="5287" y="126779"/>
                      <a:pt x="15861" y="97276"/>
                      <a:pt x="31721" y="72690"/>
                    </a:cubicBezTo>
                    <a:close/>
                    <a:moveTo>
                      <a:pt x="195388" y="9087"/>
                    </a:moveTo>
                    <a:cubicBezTo>
                      <a:pt x="200717" y="9087"/>
                      <a:pt x="211374" y="14019"/>
                      <a:pt x="216703" y="18952"/>
                    </a:cubicBezTo>
                    <a:cubicBezTo>
                      <a:pt x="227361" y="28817"/>
                      <a:pt x="243347" y="48547"/>
                      <a:pt x="254004" y="73209"/>
                    </a:cubicBezTo>
                    <a:cubicBezTo>
                      <a:pt x="232689" y="73209"/>
                      <a:pt x="216703" y="78142"/>
                      <a:pt x="195388" y="78142"/>
                    </a:cubicBezTo>
                    <a:cubicBezTo>
                      <a:pt x="195388" y="78142"/>
                      <a:pt x="195388" y="78142"/>
                      <a:pt x="195388" y="9087"/>
                    </a:cubicBezTo>
                    <a:close/>
                    <a:moveTo>
                      <a:pt x="173896" y="9087"/>
                    </a:moveTo>
                    <a:cubicBezTo>
                      <a:pt x="173896" y="9087"/>
                      <a:pt x="173896" y="9087"/>
                      <a:pt x="173896" y="78142"/>
                    </a:cubicBezTo>
                    <a:cubicBezTo>
                      <a:pt x="153291" y="78142"/>
                      <a:pt x="137837" y="73209"/>
                      <a:pt x="117233" y="73209"/>
                    </a:cubicBezTo>
                    <a:cubicBezTo>
                      <a:pt x="122384" y="63344"/>
                      <a:pt x="122384" y="58412"/>
                      <a:pt x="127535" y="53479"/>
                    </a:cubicBezTo>
                    <a:cubicBezTo>
                      <a:pt x="137837" y="38682"/>
                      <a:pt x="142989" y="23884"/>
                      <a:pt x="153291" y="18952"/>
                    </a:cubicBezTo>
                    <a:cubicBezTo>
                      <a:pt x="163593" y="14019"/>
                      <a:pt x="168745" y="9087"/>
                      <a:pt x="173896" y="9087"/>
                    </a:cubicBezTo>
                    <a:close/>
                    <a:moveTo>
                      <a:pt x="226650" y="0"/>
                    </a:moveTo>
                    <a:cubicBezTo>
                      <a:pt x="264083" y="9605"/>
                      <a:pt x="301515" y="28816"/>
                      <a:pt x="328252" y="57632"/>
                    </a:cubicBezTo>
                    <a:cubicBezTo>
                      <a:pt x="312210" y="62435"/>
                      <a:pt x="290820" y="67238"/>
                      <a:pt x="274778" y="67238"/>
                    </a:cubicBezTo>
                    <a:cubicBezTo>
                      <a:pt x="269430" y="57632"/>
                      <a:pt x="264083" y="48027"/>
                      <a:pt x="264083" y="43224"/>
                    </a:cubicBezTo>
                    <a:cubicBezTo>
                      <a:pt x="253388" y="24013"/>
                      <a:pt x="242693" y="14408"/>
                      <a:pt x="226650" y="4803"/>
                    </a:cubicBezTo>
                    <a:cubicBezTo>
                      <a:pt x="226650" y="4803"/>
                      <a:pt x="226650" y="4803"/>
                      <a:pt x="226650" y="0"/>
                    </a:cubicBezTo>
                    <a:close/>
                    <a:moveTo>
                      <a:pt x="142633" y="0"/>
                    </a:moveTo>
                    <a:cubicBezTo>
                      <a:pt x="142633" y="0"/>
                      <a:pt x="142633" y="0"/>
                      <a:pt x="142633" y="4803"/>
                    </a:cubicBezTo>
                    <a:cubicBezTo>
                      <a:pt x="121654" y="19211"/>
                      <a:pt x="105920" y="38422"/>
                      <a:pt x="95431" y="67238"/>
                    </a:cubicBezTo>
                    <a:cubicBezTo>
                      <a:pt x="79697" y="67238"/>
                      <a:pt x="58719" y="62435"/>
                      <a:pt x="42985" y="57632"/>
                    </a:cubicBezTo>
                    <a:cubicBezTo>
                      <a:pt x="69208" y="28816"/>
                      <a:pt x="105920" y="9605"/>
                      <a:pt x="142633" y="0"/>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75" name="文本框 33"/>
              <p:cNvSpPr txBox="1">
                <a:spLocks/>
              </p:cNvSpPr>
              <p:nvPr/>
            </p:nvSpPr>
            <p:spPr bwMode="auto">
              <a:xfrm>
                <a:off x="6765916" y="3145546"/>
                <a:ext cx="2088062" cy="521178"/>
              </a:xfrm>
              <a:prstGeom prst="rect">
                <a:avLst/>
              </a:prstGeom>
              <a:noFill/>
              <a:extLst/>
            </p:spPr>
            <p:txBody>
              <a:bodyPr wrap="none" lIns="0" tIns="0" rIns="0" bIns="0" anchor="ctr" anchorCtr="1">
                <a:normAutofit/>
              </a:bodyPr>
              <a:lstStyle/>
              <a:p>
                <a:r>
                  <a:rPr lang="zh-CN" altLang="en-US" sz="1400" dirty="0">
                    <a:latin typeface="等线 Light" panose="02010600030101010101" pitchFamily="2" charset="-122"/>
                    <a:ea typeface="等线 Light" panose="02010600030101010101" pitchFamily="2" charset="-122"/>
                  </a:rPr>
                  <a:t>标题文本预设</a:t>
                </a:r>
              </a:p>
            </p:txBody>
          </p:sp>
        </p:grpSp>
        <p:grpSp>
          <p:nvGrpSpPr>
            <p:cNvPr id="57" name="组合 56"/>
            <p:cNvGrpSpPr/>
            <p:nvPr/>
          </p:nvGrpSpPr>
          <p:grpSpPr>
            <a:xfrm>
              <a:off x="9145251" y="1722268"/>
              <a:ext cx="2287336" cy="3836766"/>
              <a:chOff x="8865214" y="1722268"/>
              <a:chExt cx="2287336" cy="3836766"/>
            </a:xfrm>
          </p:grpSpPr>
          <p:sp>
            <p:nvSpPr>
              <p:cNvPr id="58" name="矩形 57"/>
              <p:cNvSpPr/>
              <p:nvPr/>
            </p:nvSpPr>
            <p:spPr bwMode="auto">
              <a:xfrm>
                <a:off x="8868462" y="2674508"/>
                <a:ext cx="2098468" cy="2884526"/>
              </a:xfrm>
              <a:prstGeom prst="rect">
                <a:avLst/>
              </a:prstGeom>
              <a:solidFill>
                <a:schemeClr val="tx2">
                  <a:lumMod val="20000"/>
                  <a:lumOff val="80000"/>
                </a:schemeClr>
              </a:solidFill>
              <a:ln w="57150">
                <a:solidFill>
                  <a:schemeClr val="bg1"/>
                </a:solidFill>
                <a:round/>
                <a:headEnd/>
                <a:tailEnd/>
              </a:ln>
              <a:effectLst/>
            </p:spPr>
            <p:txBody>
              <a:bodyPr vert="horz" wrap="square" lIns="91440" tIns="45720" rIns="91440" bIns="1440000" anchor="b" anchorCtr="1" compatLnSpc="1">
                <a:prstTxWarp prst="textNoShape">
                  <a:avLst/>
                </a:prstTxWarp>
                <a:normAutofit/>
              </a:bodyPr>
              <a:lstStyle/>
              <a:p>
                <a:pPr algn="ctr">
                  <a:lnSpc>
                    <a:spcPct val="120000"/>
                  </a:lnSpc>
                </a:pPr>
                <a:r>
                  <a:rPr lang="zh-CN" altLang="en-US" sz="1100" dirty="0">
                    <a:latin typeface="等线 Light" panose="02010600030101010101" pitchFamily="2" charset="-122"/>
                    <a:ea typeface="等线 Light" panose="02010600030101010101" pitchFamily="2" charset="-122"/>
                  </a:rPr>
                  <a:t>此部分内容作为文字排版占位显示 </a:t>
                </a:r>
                <a:br>
                  <a:rPr lang="zh-CN" altLang="en-US" sz="1100" dirty="0">
                    <a:latin typeface="等线 Light" panose="02010600030101010101" pitchFamily="2" charset="-122"/>
                    <a:ea typeface="等线 Light" panose="02010600030101010101" pitchFamily="2" charset="-122"/>
                  </a:rPr>
                </a:br>
                <a:r>
                  <a:rPr lang="zh-CN" altLang="en-US" sz="1100" dirty="0">
                    <a:latin typeface="等线 Light" panose="02010600030101010101" pitchFamily="2" charset="-122"/>
                    <a:ea typeface="等线 Light" panose="02010600030101010101" pitchFamily="2" charset="-122"/>
                  </a:rPr>
                  <a:t>（建议使用主题字体）</a:t>
                </a:r>
              </a:p>
            </p:txBody>
          </p:sp>
          <p:grpSp>
            <p:nvGrpSpPr>
              <p:cNvPr id="59" name="组合 58"/>
              <p:cNvGrpSpPr/>
              <p:nvPr/>
            </p:nvGrpSpPr>
            <p:grpSpPr>
              <a:xfrm>
                <a:off x="8870416" y="1722268"/>
                <a:ext cx="2282134" cy="3656176"/>
                <a:chOff x="8096836" y="1722268"/>
                <a:chExt cx="2282134" cy="3656176"/>
              </a:xfrm>
            </p:grpSpPr>
            <p:grpSp>
              <p:nvGrpSpPr>
                <p:cNvPr id="63" name="组合 62"/>
                <p:cNvGrpSpPr/>
                <p:nvPr/>
              </p:nvGrpSpPr>
              <p:grpSpPr>
                <a:xfrm>
                  <a:off x="10191398" y="1809496"/>
                  <a:ext cx="187572" cy="3332705"/>
                  <a:chOff x="11237428" y="1342242"/>
                  <a:chExt cx="235435" cy="4183109"/>
                </a:xfrm>
              </p:grpSpPr>
              <p:sp>
                <p:nvSpPr>
                  <p:cNvPr id="68" name="任意多边形 121"/>
                  <p:cNvSpPr>
                    <a:spLocks/>
                  </p:cNvSpPr>
                  <p:nvPr/>
                </p:nvSpPr>
                <p:spPr bwMode="auto">
                  <a:xfrm>
                    <a:off x="11237428" y="1342242"/>
                    <a:ext cx="235435" cy="1366292"/>
                  </a:xfrm>
                  <a:custGeom>
                    <a:avLst/>
                    <a:gdLst/>
                    <a:ahLst/>
                    <a:cxnLst>
                      <a:cxn ang="0">
                        <a:pos x="54" y="575"/>
                      </a:cxn>
                      <a:cxn ang="0">
                        <a:pos x="54" y="0"/>
                      </a:cxn>
                      <a:cxn ang="0">
                        <a:pos x="0" y="10"/>
                      </a:cxn>
                      <a:cxn ang="0">
                        <a:pos x="0" y="627"/>
                      </a:cxn>
                      <a:cxn ang="0">
                        <a:pos x="54" y="617"/>
                      </a:cxn>
                      <a:cxn ang="0">
                        <a:pos x="54" y="617"/>
                      </a:cxn>
                      <a:cxn ang="0">
                        <a:pos x="80" y="586"/>
                      </a:cxn>
                      <a:cxn ang="0">
                        <a:pos x="54" y="575"/>
                      </a:cxn>
                    </a:cxnLst>
                    <a:rect l="0" t="0" r="r" b="b"/>
                    <a:pathLst>
                      <a:path w="81" h="627">
                        <a:moveTo>
                          <a:pt x="54" y="575"/>
                        </a:moveTo>
                        <a:cubicBezTo>
                          <a:pt x="54" y="0"/>
                          <a:pt x="54" y="0"/>
                          <a:pt x="54" y="0"/>
                        </a:cubicBezTo>
                        <a:cubicBezTo>
                          <a:pt x="0" y="10"/>
                          <a:pt x="0" y="10"/>
                          <a:pt x="0" y="10"/>
                        </a:cubicBezTo>
                        <a:cubicBezTo>
                          <a:pt x="0" y="627"/>
                          <a:pt x="0" y="627"/>
                          <a:pt x="0" y="627"/>
                        </a:cubicBezTo>
                        <a:cubicBezTo>
                          <a:pt x="54" y="617"/>
                          <a:pt x="54" y="617"/>
                          <a:pt x="54" y="617"/>
                        </a:cubicBezTo>
                        <a:cubicBezTo>
                          <a:pt x="54" y="617"/>
                          <a:pt x="54" y="617"/>
                          <a:pt x="54" y="617"/>
                        </a:cubicBezTo>
                        <a:cubicBezTo>
                          <a:pt x="54" y="617"/>
                          <a:pt x="81" y="612"/>
                          <a:pt x="80" y="586"/>
                        </a:cubicBezTo>
                        <a:cubicBezTo>
                          <a:pt x="79" y="567"/>
                          <a:pt x="54" y="575"/>
                          <a:pt x="54" y="575"/>
                        </a:cubicBezTo>
                        <a:close/>
                      </a:path>
                    </a:pathLst>
                  </a:custGeom>
                  <a:solidFill>
                    <a:schemeClr val="accent4">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69" name="任意多边形 122"/>
                  <p:cNvSpPr>
                    <a:spLocks/>
                  </p:cNvSpPr>
                  <p:nvPr/>
                </p:nvSpPr>
                <p:spPr bwMode="auto">
                  <a:xfrm>
                    <a:off x="11237428" y="4866154"/>
                    <a:ext cx="235435" cy="285120"/>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4">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70" name="任意多边形 123"/>
                  <p:cNvSpPr>
                    <a:spLocks/>
                  </p:cNvSpPr>
                  <p:nvPr/>
                </p:nvSpPr>
                <p:spPr bwMode="auto">
                  <a:xfrm>
                    <a:off x="11237428" y="5240231"/>
                    <a:ext cx="235435" cy="285120"/>
                  </a:xfrm>
                  <a:custGeom>
                    <a:avLst/>
                    <a:gdLst/>
                    <a:ahLst/>
                    <a:cxnLst>
                      <a:cxn ang="0">
                        <a:pos x="54" y="79"/>
                      </a:cxn>
                      <a:cxn ang="0">
                        <a:pos x="54" y="0"/>
                      </a:cxn>
                      <a:cxn ang="0">
                        <a:pos x="0" y="10"/>
                      </a:cxn>
                      <a:cxn ang="0">
                        <a:pos x="0" y="131"/>
                      </a:cxn>
                      <a:cxn ang="0">
                        <a:pos x="54" y="121"/>
                      </a:cxn>
                      <a:cxn ang="0">
                        <a:pos x="54" y="121"/>
                      </a:cxn>
                      <a:cxn ang="0">
                        <a:pos x="80" y="90"/>
                      </a:cxn>
                      <a:cxn ang="0">
                        <a:pos x="54" y="79"/>
                      </a:cxn>
                    </a:cxnLst>
                    <a:rect l="0" t="0" r="r" b="b"/>
                    <a:pathLst>
                      <a:path w="81" h="131">
                        <a:moveTo>
                          <a:pt x="54" y="79"/>
                        </a:moveTo>
                        <a:cubicBezTo>
                          <a:pt x="54" y="0"/>
                          <a:pt x="54" y="0"/>
                          <a:pt x="54" y="0"/>
                        </a:cubicBezTo>
                        <a:cubicBezTo>
                          <a:pt x="0" y="10"/>
                          <a:pt x="0" y="10"/>
                          <a:pt x="0" y="10"/>
                        </a:cubicBezTo>
                        <a:cubicBezTo>
                          <a:pt x="0" y="131"/>
                          <a:pt x="0" y="131"/>
                          <a:pt x="0" y="131"/>
                        </a:cubicBezTo>
                        <a:cubicBezTo>
                          <a:pt x="54" y="121"/>
                          <a:pt x="54" y="121"/>
                          <a:pt x="54" y="121"/>
                        </a:cubicBezTo>
                        <a:cubicBezTo>
                          <a:pt x="54" y="121"/>
                          <a:pt x="54" y="121"/>
                          <a:pt x="54" y="121"/>
                        </a:cubicBezTo>
                        <a:cubicBezTo>
                          <a:pt x="54" y="121"/>
                          <a:pt x="81" y="116"/>
                          <a:pt x="80" y="90"/>
                        </a:cubicBezTo>
                        <a:cubicBezTo>
                          <a:pt x="79" y="71"/>
                          <a:pt x="54" y="79"/>
                          <a:pt x="54" y="79"/>
                        </a:cubicBezTo>
                        <a:close/>
                      </a:path>
                    </a:pathLst>
                  </a:custGeom>
                  <a:solidFill>
                    <a:schemeClr val="accent4">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grpSp>
            <p:grpSp>
              <p:nvGrpSpPr>
                <p:cNvPr id="64" name="组合 63"/>
                <p:cNvGrpSpPr/>
                <p:nvPr/>
              </p:nvGrpSpPr>
              <p:grpSpPr>
                <a:xfrm>
                  <a:off x="8096836" y="1722268"/>
                  <a:ext cx="2280180" cy="3656176"/>
                  <a:chOff x="8096836" y="1722268"/>
                  <a:chExt cx="2280180" cy="3656176"/>
                </a:xfrm>
              </p:grpSpPr>
              <p:sp>
                <p:nvSpPr>
                  <p:cNvPr id="65" name="任意多边形 118"/>
                  <p:cNvSpPr>
                    <a:spLocks/>
                  </p:cNvSpPr>
                  <p:nvPr/>
                </p:nvSpPr>
                <p:spPr bwMode="auto">
                  <a:xfrm>
                    <a:off x="8096836" y="1722268"/>
                    <a:ext cx="2280180" cy="1410185"/>
                  </a:xfrm>
                  <a:custGeom>
                    <a:avLst/>
                    <a:gdLst/>
                    <a:ahLst/>
                    <a:cxnLst>
                      <a:cxn ang="0">
                        <a:pos x="954" y="8"/>
                      </a:cxn>
                      <a:cxn ang="0">
                        <a:pos x="954" y="8"/>
                      </a:cxn>
                      <a:cxn ang="0">
                        <a:pos x="0" y="196"/>
                      </a:cxn>
                      <a:cxn ang="0">
                        <a:pos x="0" y="813"/>
                      </a:cxn>
                      <a:cxn ang="0">
                        <a:pos x="954" y="625"/>
                      </a:cxn>
                      <a:cxn ang="0">
                        <a:pos x="980" y="636"/>
                      </a:cxn>
                      <a:cxn ang="0">
                        <a:pos x="980" y="19"/>
                      </a:cxn>
                      <a:cxn ang="0">
                        <a:pos x="954" y="8"/>
                      </a:cxn>
                    </a:cxnLst>
                    <a:rect l="0" t="0" r="r" b="b"/>
                    <a:pathLst>
                      <a:path w="980" h="813">
                        <a:moveTo>
                          <a:pt x="954" y="8"/>
                        </a:moveTo>
                        <a:cubicBezTo>
                          <a:pt x="954" y="8"/>
                          <a:pt x="954" y="8"/>
                          <a:pt x="954" y="8"/>
                        </a:cubicBezTo>
                        <a:cubicBezTo>
                          <a:pt x="0" y="196"/>
                          <a:pt x="0" y="196"/>
                          <a:pt x="0" y="196"/>
                        </a:cubicBezTo>
                        <a:cubicBezTo>
                          <a:pt x="0" y="813"/>
                          <a:pt x="0" y="813"/>
                          <a:pt x="0" y="813"/>
                        </a:cubicBezTo>
                        <a:cubicBezTo>
                          <a:pt x="954" y="625"/>
                          <a:pt x="954" y="625"/>
                          <a:pt x="954" y="625"/>
                        </a:cubicBezTo>
                        <a:cubicBezTo>
                          <a:pt x="954" y="625"/>
                          <a:pt x="979" y="617"/>
                          <a:pt x="980" y="636"/>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66" name="任意多边形 119"/>
                  <p:cNvSpPr>
                    <a:spLocks/>
                  </p:cNvSpPr>
                  <p:nvPr/>
                </p:nvSpPr>
                <p:spPr bwMode="auto">
                  <a:xfrm>
                    <a:off x="8096836" y="4529788"/>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67" name="任意多边形 120"/>
                  <p:cNvSpPr>
                    <a:spLocks/>
                  </p:cNvSpPr>
                  <p:nvPr/>
                </p:nvSpPr>
                <p:spPr bwMode="auto">
                  <a:xfrm>
                    <a:off x="8096836" y="4827817"/>
                    <a:ext cx="2280180" cy="550627"/>
                  </a:xfrm>
                  <a:custGeom>
                    <a:avLst/>
                    <a:gdLst/>
                    <a:ahLst/>
                    <a:cxnLst>
                      <a:cxn ang="0">
                        <a:pos x="954" y="8"/>
                      </a:cxn>
                      <a:cxn ang="0">
                        <a:pos x="954" y="8"/>
                      </a:cxn>
                      <a:cxn ang="0">
                        <a:pos x="0" y="196"/>
                      </a:cxn>
                      <a:cxn ang="0">
                        <a:pos x="0" y="317"/>
                      </a:cxn>
                      <a:cxn ang="0">
                        <a:pos x="954" y="129"/>
                      </a:cxn>
                      <a:cxn ang="0">
                        <a:pos x="980" y="140"/>
                      </a:cxn>
                      <a:cxn ang="0">
                        <a:pos x="980" y="19"/>
                      </a:cxn>
                      <a:cxn ang="0">
                        <a:pos x="954" y="8"/>
                      </a:cxn>
                    </a:cxnLst>
                    <a:rect l="0" t="0" r="r" b="b"/>
                    <a:pathLst>
                      <a:path w="980" h="317">
                        <a:moveTo>
                          <a:pt x="954" y="8"/>
                        </a:moveTo>
                        <a:cubicBezTo>
                          <a:pt x="954" y="8"/>
                          <a:pt x="954" y="8"/>
                          <a:pt x="954" y="8"/>
                        </a:cubicBezTo>
                        <a:cubicBezTo>
                          <a:pt x="0" y="196"/>
                          <a:pt x="0" y="196"/>
                          <a:pt x="0" y="196"/>
                        </a:cubicBezTo>
                        <a:cubicBezTo>
                          <a:pt x="0" y="317"/>
                          <a:pt x="0" y="317"/>
                          <a:pt x="0" y="317"/>
                        </a:cubicBezTo>
                        <a:cubicBezTo>
                          <a:pt x="954" y="129"/>
                          <a:pt x="954" y="129"/>
                          <a:pt x="954" y="129"/>
                        </a:cubicBezTo>
                        <a:cubicBezTo>
                          <a:pt x="954" y="129"/>
                          <a:pt x="979" y="121"/>
                          <a:pt x="980" y="140"/>
                        </a:cubicBezTo>
                        <a:cubicBezTo>
                          <a:pt x="980" y="19"/>
                          <a:pt x="980" y="19"/>
                          <a:pt x="980" y="19"/>
                        </a:cubicBezTo>
                        <a:cubicBezTo>
                          <a:pt x="979" y="0"/>
                          <a:pt x="954" y="8"/>
                          <a:pt x="954" y="8"/>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grpSp>
          </p:grpSp>
          <p:sp>
            <p:nvSpPr>
              <p:cNvPr id="60" name="椭圆 59"/>
              <p:cNvSpPr/>
              <p:nvPr/>
            </p:nvSpPr>
            <p:spPr bwMode="auto">
              <a:xfrm>
                <a:off x="9635360" y="2096622"/>
                <a:ext cx="750290" cy="697823"/>
              </a:xfrm>
              <a:prstGeom prst="ellipse">
                <a:avLst/>
              </a:prstGeom>
              <a:solidFill>
                <a:schemeClr val="bg1"/>
              </a:solidFill>
              <a:ln w="19050">
                <a:solidFill>
                  <a:schemeClr val="bg1"/>
                </a:solidFill>
                <a:round/>
                <a:headEnd/>
                <a:tailEnd/>
              </a:ln>
            </p:spPr>
            <p:txBody>
              <a:bodyPr anchor="ctr"/>
              <a:lstStyle/>
              <a:p>
                <a:pPr algn="ctr"/>
                <a:endParaRPr dirty="0">
                  <a:latin typeface="微软雅黑" panose="020B0503020204020204" pitchFamily="34" charset="-122"/>
                  <a:ea typeface="微软雅黑" panose="020B0503020204020204" pitchFamily="34" charset="-122"/>
                </a:endParaRPr>
              </a:p>
            </p:txBody>
          </p:sp>
          <p:sp>
            <p:nvSpPr>
              <p:cNvPr id="61" name="任意多边形 124"/>
              <p:cNvSpPr>
                <a:spLocks/>
              </p:cNvSpPr>
              <p:nvPr/>
            </p:nvSpPr>
            <p:spPr bwMode="auto">
              <a:xfrm>
                <a:off x="9793625" y="2258358"/>
                <a:ext cx="433761" cy="374353"/>
              </a:xfrm>
              <a:custGeom>
                <a:avLst/>
                <a:gdLst>
                  <a:gd name="connsiteX0" fmla="*/ 375036 w 433761"/>
                  <a:gd name="connsiteY0" fmla="*/ 292577 h 374353"/>
                  <a:gd name="connsiteX1" fmla="*/ 364399 w 433761"/>
                  <a:gd name="connsiteY1" fmla="*/ 302269 h 374353"/>
                  <a:gd name="connsiteX2" fmla="*/ 375036 w 433761"/>
                  <a:gd name="connsiteY2" fmla="*/ 311961 h 374353"/>
                  <a:gd name="connsiteX3" fmla="*/ 390993 w 433761"/>
                  <a:gd name="connsiteY3" fmla="*/ 302269 h 374353"/>
                  <a:gd name="connsiteX4" fmla="*/ 375036 w 433761"/>
                  <a:gd name="connsiteY4" fmla="*/ 292577 h 374353"/>
                  <a:gd name="connsiteX5" fmla="*/ 186010 w 433761"/>
                  <a:gd name="connsiteY5" fmla="*/ 292577 h 374353"/>
                  <a:gd name="connsiteX6" fmla="*/ 175459 w 433761"/>
                  <a:gd name="connsiteY6" fmla="*/ 302269 h 374353"/>
                  <a:gd name="connsiteX7" fmla="*/ 186010 w 433761"/>
                  <a:gd name="connsiteY7" fmla="*/ 311961 h 374353"/>
                  <a:gd name="connsiteX8" fmla="*/ 201836 w 433761"/>
                  <a:gd name="connsiteY8" fmla="*/ 302269 h 374353"/>
                  <a:gd name="connsiteX9" fmla="*/ 186010 w 433761"/>
                  <a:gd name="connsiteY9" fmla="*/ 292577 h 374353"/>
                  <a:gd name="connsiteX10" fmla="*/ 96019 w 433761"/>
                  <a:gd name="connsiteY10" fmla="*/ 263501 h 374353"/>
                  <a:gd name="connsiteX11" fmla="*/ 106625 w 433761"/>
                  <a:gd name="connsiteY11" fmla="*/ 292577 h 374353"/>
                  <a:gd name="connsiteX12" fmla="*/ 117232 w 433761"/>
                  <a:gd name="connsiteY12" fmla="*/ 307115 h 374353"/>
                  <a:gd name="connsiteX13" fmla="*/ 117232 w 433761"/>
                  <a:gd name="connsiteY13" fmla="*/ 321653 h 374353"/>
                  <a:gd name="connsiteX14" fmla="*/ 42985 w 433761"/>
                  <a:gd name="connsiteY14" fmla="*/ 273193 h 374353"/>
                  <a:gd name="connsiteX15" fmla="*/ 96019 w 433761"/>
                  <a:gd name="connsiteY15" fmla="*/ 263501 h 374353"/>
                  <a:gd name="connsiteX16" fmla="*/ 280471 w 433761"/>
                  <a:gd name="connsiteY16" fmla="*/ 258049 h 374353"/>
                  <a:gd name="connsiteX17" fmla="*/ 285622 w 433761"/>
                  <a:gd name="connsiteY17" fmla="*/ 258049 h 374353"/>
                  <a:gd name="connsiteX18" fmla="*/ 290773 w 433761"/>
                  <a:gd name="connsiteY18" fmla="*/ 258049 h 374353"/>
                  <a:gd name="connsiteX19" fmla="*/ 290773 w 433761"/>
                  <a:gd name="connsiteY19" fmla="*/ 262966 h 374353"/>
                  <a:gd name="connsiteX20" fmla="*/ 295924 w 433761"/>
                  <a:gd name="connsiteY20" fmla="*/ 267884 h 374353"/>
                  <a:gd name="connsiteX21" fmla="*/ 311378 w 433761"/>
                  <a:gd name="connsiteY21" fmla="*/ 277718 h 374353"/>
                  <a:gd name="connsiteX22" fmla="*/ 311378 w 433761"/>
                  <a:gd name="connsiteY22" fmla="*/ 282635 h 374353"/>
                  <a:gd name="connsiteX23" fmla="*/ 306227 w 433761"/>
                  <a:gd name="connsiteY23" fmla="*/ 282635 h 374353"/>
                  <a:gd name="connsiteX24" fmla="*/ 301075 w 433761"/>
                  <a:gd name="connsiteY24" fmla="*/ 282635 h 374353"/>
                  <a:gd name="connsiteX25" fmla="*/ 295924 w 433761"/>
                  <a:gd name="connsiteY25" fmla="*/ 277718 h 374353"/>
                  <a:gd name="connsiteX26" fmla="*/ 285622 w 433761"/>
                  <a:gd name="connsiteY26" fmla="*/ 277718 h 374353"/>
                  <a:gd name="connsiteX27" fmla="*/ 280471 w 433761"/>
                  <a:gd name="connsiteY27" fmla="*/ 277718 h 374353"/>
                  <a:gd name="connsiteX28" fmla="*/ 275320 w 433761"/>
                  <a:gd name="connsiteY28" fmla="*/ 287553 h 374353"/>
                  <a:gd name="connsiteX29" fmla="*/ 285622 w 433761"/>
                  <a:gd name="connsiteY29" fmla="*/ 292470 h 374353"/>
                  <a:gd name="connsiteX30" fmla="*/ 290773 w 433761"/>
                  <a:gd name="connsiteY30" fmla="*/ 297387 h 374353"/>
                  <a:gd name="connsiteX31" fmla="*/ 311378 w 433761"/>
                  <a:gd name="connsiteY31" fmla="*/ 312139 h 374353"/>
                  <a:gd name="connsiteX32" fmla="*/ 306227 w 433761"/>
                  <a:gd name="connsiteY32" fmla="*/ 331808 h 374353"/>
                  <a:gd name="connsiteX33" fmla="*/ 290773 w 433761"/>
                  <a:gd name="connsiteY33" fmla="*/ 336725 h 374353"/>
                  <a:gd name="connsiteX34" fmla="*/ 290773 w 433761"/>
                  <a:gd name="connsiteY34" fmla="*/ 341642 h 374353"/>
                  <a:gd name="connsiteX35" fmla="*/ 285622 w 433761"/>
                  <a:gd name="connsiteY35" fmla="*/ 341642 h 374353"/>
                  <a:gd name="connsiteX36" fmla="*/ 280471 w 433761"/>
                  <a:gd name="connsiteY36" fmla="*/ 341642 h 374353"/>
                  <a:gd name="connsiteX37" fmla="*/ 280471 w 433761"/>
                  <a:gd name="connsiteY37" fmla="*/ 336725 h 374353"/>
                  <a:gd name="connsiteX38" fmla="*/ 265017 w 433761"/>
                  <a:gd name="connsiteY38" fmla="*/ 326890 h 374353"/>
                  <a:gd name="connsiteX39" fmla="*/ 265017 w 433761"/>
                  <a:gd name="connsiteY39" fmla="*/ 321973 h 374353"/>
                  <a:gd name="connsiteX40" fmla="*/ 270168 w 433761"/>
                  <a:gd name="connsiteY40" fmla="*/ 317056 h 374353"/>
                  <a:gd name="connsiteX41" fmla="*/ 275320 w 433761"/>
                  <a:gd name="connsiteY41" fmla="*/ 317056 h 374353"/>
                  <a:gd name="connsiteX42" fmla="*/ 280471 w 433761"/>
                  <a:gd name="connsiteY42" fmla="*/ 321973 h 374353"/>
                  <a:gd name="connsiteX43" fmla="*/ 290773 w 433761"/>
                  <a:gd name="connsiteY43" fmla="*/ 321973 h 374353"/>
                  <a:gd name="connsiteX44" fmla="*/ 295924 w 433761"/>
                  <a:gd name="connsiteY44" fmla="*/ 321973 h 374353"/>
                  <a:gd name="connsiteX45" fmla="*/ 301075 w 433761"/>
                  <a:gd name="connsiteY45" fmla="*/ 312139 h 374353"/>
                  <a:gd name="connsiteX46" fmla="*/ 295924 w 433761"/>
                  <a:gd name="connsiteY46" fmla="*/ 312139 h 374353"/>
                  <a:gd name="connsiteX47" fmla="*/ 290773 w 433761"/>
                  <a:gd name="connsiteY47" fmla="*/ 307221 h 374353"/>
                  <a:gd name="connsiteX48" fmla="*/ 270168 w 433761"/>
                  <a:gd name="connsiteY48" fmla="*/ 297387 h 374353"/>
                  <a:gd name="connsiteX49" fmla="*/ 265017 w 433761"/>
                  <a:gd name="connsiteY49" fmla="*/ 292470 h 374353"/>
                  <a:gd name="connsiteX50" fmla="*/ 270168 w 433761"/>
                  <a:gd name="connsiteY50" fmla="*/ 272801 h 374353"/>
                  <a:gd name="connsiteX51" fmla="*/ 280471 w 433761"/>
                  <a:gd name="connsiteY51" fmla="*/ 262966 h 374353"/>
                  <a:gd name="connsiteX52" fmla="*/ 280471 w 433761"/>
                  <a:gd name="connsiteY52" fmla="*/ 258049 h 374353"/>
                  <a:gd name="connsiteX53" fmla="*/ 316528 w 433761"/>
                  <a:gd name="connsiteY53" fmla="*/ 248963 h 374353"/>
                  <a:gd name="connsiteX54" fmla="*/ 396312 w 433761"/>
                  <a:gd name="connsiteY54" fmla="*/ 248963 h 374353"/>
                  <a:gd name="connsiteX55" fmla="*/ 396312 w 433761"/>
                  <a:gd name="connsiteY55" fmla="*/ 253809 h 374353"/>
                  <a:gd name="connsiteX56" fmla="*/ 406950 w 433761"/>
                  <a:gd name="connsiteY56" fmla="*/ 268347 h 374353"/>
                  <a:gd name="connsiteX57" fmla="*/ 412269 w 433761"/>
                  <a:gd name="connsiteY57" fmla="*/ 268347 h 374353"/>
                  <a:gd name="connsiteX58" fmla="*/ 412269 w 433761"/>
                  <a:gd name="connsiteY58" fmla="*/ 336191 h 374353"/>
                  <a:gd name="connsiteX59" fmla="*/ 406950 w 433761"/>
                  <a:gd name="connsiteY59" fmla="*/ 336191 h 374353"/>
                  <a:gd name="connsiteX60" fmla="*/ 396312 w 433761"/>
                  <a:gd name="connsiteY60" fmla="*/ 350729 h 374353"/>
                  <a:gd name="connsiteX61" fmla="*/ 321847 w 433761"/>
                  <a:gd name="connsiteY61" fmla="*/ 350729 h 374353"/>
                  <a:gd name="connsiteX62" fmla="*/ 348442 w 433761"/>
                  <a:gd name="connsiteY62" fmla="*/ 302269 h 374353"/>
                  <a:gd name="connsiteX63" fmla="*/ 316528 w 433761"/>
                  <a:gd name="connsiteY63" fmla="*/ 248963 h 374353"/>
                  <a:gd name="connsiteX64" fmla="*/ 170183 w 433761"/>
                  <a:gd name="connsiteY64" fmla="*/ 248963 h 374353"/>
                  <a:gd name="connsiteX65" fmla="*/ 259866 w 433761"/>
                  <a:gd name="connsiteY65" fmla="*/ 248963 h 374353"/>
                  <a:gd name="connsiteX66" fmla="*/ 228213 w 433761"/>
                  <a:gd name="connsiteY66" fmla="*/ 302269 h 374353"/>
                  <a:gd name="connsiteX67" fmla="*/ 254591 w 433761"/>
                  <a:gd name="connsiteY67" fmla="*/ 350729 h 374353"/>
                  <a:gd name="connsiteX68" fmla="*/ 170183 w 433761"/>
                  <a:gd name="connsiteY68" fmla="*/ 350729 h 374353"/>
                  <a:gd name="connsiteX69" fmla="*/ 159632 w 433761"/>
                  <a:gd name="connsiteY69" fmla="*/ 336191 h 374353"/>
                  <a:gd name="connsiteX70" fmla="*/ 154357 w 433761"/>
                  <a:gd name="connsiteY70" fmla="*/ 336191 h 374353"/>
                  <a:gd name="connsiteX71" fmla="*/ 154357 w 433761"/>
                  <a:gd name="connsiteY71" fmla="*/ 268347 h 374353"/>
                  <a:gd name="connsiteX72" fmla="*/ 159632 w 433761"/>
                  <a:gd name="connsiteY72" fmla="*/ 268347 h 374353"/>
                  <a:gd name="connsiteX73" fmla="*/ 170183 w 433761"/>
                  <a:gd name="connsiteY73" fmla="*/ 253809 h 374353"/>
                  <a:gd name="connsiteX74" fmla="*/ 170183 w 433761"/>
                  <a:gd name="connsiteY74" fmla="*/ 248963 h 374353"/>
                  <a:gd name="connsiteX75" fmla="*/ 142633 w 433761"/>
                  <a:gd name="connsiteY75" fmla="*/ 238059 h 374353"/>
                  <a:gd name="connsiteX76" fmla="*/ 142633 w 433761"/>
                  <a:gd name="connsiteY76" fmla="*/ 359815 h 374353"/>
                  <a:gd name="connsiteX77" fmla="*/ 422038 w 433761"/>
                  <a:gd name="connsiteY77" fmla="*/ 359815 h 374353"/>
                  <a:gd name="connsiteX78" fmla="*/ 422038 w 433761"/>
                  <a:gd name="connsiteY78" fmla="*/ 238059 h 374353"/>
                  <a:gd name="connsiteX79" fmla="*/ 132864 w 433761"/>
                  <a:gd name="connsiteY79" fmla="*/ 228973 h 374353"/>
                  <a:gd name="connsiteX80" fmla="*/ 433761 w 433761"/>
                  <a:gd name="connsiteY80" fmla="*/ 228973 h 374353"/>
                  <a:gd name="connsiteX81" fmla="*/ 433761 w 433761"/>
                  <a:gd name="connsiteY81" fmla="*/ 374353 h 374353"/>
                  <a:gd name="connsiteX82" fmla="*/ 132864 w 433761"/>
                  <a:gd name="connsiteY82" fmla="*/ 374353 h 374353"/>
                  <a:gd name="connsiteX83" fmla="*/ 290517 w 433761"/>
                  <a:gd name="connsiteY83" fmla="*/ 174456 h 374353"/>
                  <a:gd name="connsiteX84" fmla="*/ 369283 w 433761"/>
                  <a:gd name="connsiteY84" fmla="*/ 174456 h 374353"/>
                  <a:gd name="connsiteX85" fmla="*/ 358781 w 433761"/>
                  <a:gd name="connsiteY85" fmla="*/ 219887 h 374353"/>
                  <a:gd name="connsiteX86" fmla="*/ 285266 w 433761"/>
                  <a:gd name="connsiteY86" fmla="*/ 219887 h 374353"/>
                  <a:gd name="connsiteX87" fmla="*/ 290517 w 433761"/>
                  <a:gd name="connsiteY87" fmla="*/ 174456 h 374353"/>
                  <a:gd name="connsiteX88" fmla="*/ 195388 w 433761"/>
                  <a:gd name="connsiteY88" fmla="*/ 174456 h 374353"/>
                  <a:gd name="connsiteX89" fmla="*/ 269635 w 433761"/>
                  <a:gd name="connsiteY89" fmla="*/ 174456 h 374353"/>
                  <a:gd name="connsiteX90" fmla="*/ 264332 w 433761"/>
                  <a:gd name="connsiteY90" fmla="*/ 219887 h 374353"/>
                  <a:gd name="connsiteX91" fmla="*/ 195388 w 433761"/>
                  <a:gd name="connsiteY91" fmla="*/ 219887 h 374353"/>
                  <a:gd name="connsiteX92" fmla="*/ 195388 w 433761"/>
                  <a:gd name="connsiteY92" fmla="*/ 174456 h 374353"/>
                  <a:gd name="connsiteX93" fmla="*/ 101602 w 433761"/>
                  <a:gd name="connsiteY93" fmla="*/ 174456 h 374353"/>
                  <a:gd name="connsiteX94" fmla="*/ 173896 w 433761"/>
                  <a:gd name="connsiteY94" fmla="*/ 174456 h 374353"/>
                  <a:gd name="connsiteX95" fmla="*/ 173896 w 433761"/>
                  <a:gd name="connsiteY95" fmla="*/ 218489 h 374353"/>
                  <a:gd name="connsiteX96" fmla="*/ 117094 w 433761"/>
                  <a:gd name="connsiteY96" fmla="*/ 218489 h 374353"/>
                  <a:gd name="connsiteX97" fmla="*/ 117094 w 433761"/>
                  <a:gd name="connsiteY97" fmla="*/ 238059 h 374353"/>
                  <a:gd name="connsiteX98" fmla="*/ 111930 w 433761"/>
                  <a:gd name="connsiteY98" fmla="*/ 238059 h 374353"/>
                  <a:gd name="connsiteX99" fmla="*/ 101602 w 433761"/>
                  <a:gd name="connsiteY99" fmla="*/ 174456 h 374353"/>
                  <a:gd name="connsiteX100" fmla="*/ 0 w 433761"/>
                  <a:gd name="connsiteY100" fmla="*/ 174456 h 374353"/>
                  <a:gd name="connsiteX101" fmla="*/ 79304 w 433761"/>
                  <a:gd name="connsiteY101" fmla="*/ 174456 h 374353"/>
                  <a:gd name="connsiteX102" fmla="*/ 89878 w 433761"/>
                  <a:gd name="connsiteY102" fmla="*/ 243297 h 374353"/>
                  <a:gd name="connsiteX103" fmla="*/ 31722 w 433761"/>
                  <a:gd name="connsiteY103" fmla="*/ 258049 h 374353"/>
                  <a:gd name="connsiteX104" fmla="*/ 0 w 433761"/>
                  <a:gd name="connsiteY104" fmla="*/ 174456 h 374353"/>
                  <a:gd name="connsiteX105" fmla="*/ 259028 w 433761"/>
                  <a:gd name="connsiteY105" fmla="*/ 92680 h 374353"/>
                  <a:gd name="connsiteX106" fmla="*/ 269635 w 433761"/>
                  <a:gd name="connsiteY106" fmla="*/ 156283 h 374353"/>
                  <a:gd name="connsiteX107" fmla="*/ 195388 w 433761"/>
                  <a:gd name="connsiteY107" fmla="*/ 156283 h 374353"/>
                  <a:gd name="connsiteX108" fmla="*/ 195388 w 433761"/>
                  <a:gd name="connsiteY108" fmla="*/ 97572 h 374353"/>
                  <a:gd name="connsiteX109" fmla="*/ 259028 w 433761"/>
                  <a:gd name="connsiteY109" fmla="*/ 92680 h 374353"/>
                  <a:gd name="connsiteX110" fmla="*/ 111930 w 433761"/>
                  <a:gd name="connsiteY110" fmla="*/ 92680 h 374353"/>
                  <a:gd name="connsiteX111" fmla="*/ 173896 w 433761"/>
                  <a:gd name="connsiteY111" fmla="*/ 97572 h 374353"/>
                  <a:gd name="connsiteX112" fmla="*/ 173896 w 433761"/>
                  <a:gd name="connsiteY112" fmla="*/ 156283 h 374353"/>
                  <a:gd name="connsiteX113" fmla="*/ 101602 w 433761"/>
                  <a:gd name="connsiteY113" fmla="*/ 156283 h 374353"/>
                  <a:gd name="connsiteX114" fmla="*/ 111930 w 433761"/>
                  <a:gd name="connsiteY114" fmla="*/ 92680 h 374353"/>
                  <a:gd name="connsiteX115" fmla="*/ 337561 w 433761"/>
                  <a:gd name="connsiteY115" fmla="*/ 72690 h 374353"/>
                  <a:gd name="connsiteX116" fmla="*/ 369283 w 433761"/>
                  <a:gd name="connsiteY116" fmla="*/ 156283 h 374353"/>
                  <a:gd name="connsiteX117" fmla="*/ 289979 w 433761"/>
                  <a:gd name="connsiteY117" fmla="*/ 156283 h 374353"/>
                  <a:gd name="connsiteX118" fmla="*/ 279405 w 433761"/>
                  <a:gd name="connsiteY118" fmla="*/ 87442 h 374353"/>
                  <a:gd name="connsiteX119" fmla="*/ 337561 w 433761"/>
                  <a:gd name="connsiteY119" fmla="*/ 72690 h 374353"/>
                  <a:gd name="connsiteX120" fmla="*/ 31722 w 433761"/>
                  <a:gd name="connsiteY120" fmla="*/ 72690 h 374353"/>
                  <a:gd name="connsiteX121" fmla="*/ 89878 w 433761"/>
                  <a:gd name="connsiteY121" fmla="*/ 87442 h 374353"/>
                  <a:gd name="connsiteX122" fmla="*/ 79304 w 433761"/>
                  <a:gd name="connsiteY122" fmla="*/ 156283 h 374353"/>
                  <a:gd name="connsiteX123" fmla="*/ 0 w 433761"/>
                  <a:gd name="connsiteY123" fmla="*/ 156283 h 374353"/>
                  <a:gd name="connsiteX124" fmla="*/ 31722 w 433761"/>
                  <a:gd name="connsiteY124" fmla="*/ 72690 h 374353"/>
                  <a:gd name="connsiteX125" fmla="*/ 195388 w 433761"/>
                  <a:gd name="connsiteY125" fmla="*/ 9087 h 374353"/>
                  <a:gd name="connsiteX126" fmla="*/ 216703 w 433761"/>
                  <a:gd name="connsiteY126" fmla="*/ 18952 h 374353"/>
                  <a:gd name="connsiteX127" fmla="*/ 254004 w 433761"/>
                  <a:gd name="connsiteY127" fmla="*/ 73209 h 374353"/>
                  <a:gd name="connsiteX128" fmla="*/ 195388 w 433761"/>
                  <a:gd name="connsiteY128" fmla="*/ 78142 h 374353"/>
                  <a:gd name="connsiteX129" fmla="*/ 195388 w 433761"/>
                  <a:gd name="connsiteY129" fmla="*/ 9087 h 374353"/>
                  <a:gd name="connsiteX130" fmla="*/ 173896 w 433761"/>
                  <a:gd name="connsiteY130" fmla="*/ 9087 h 374353"/>
                  <a:gd name="connsiteX131" fmla="*/ 173896 w 433761"/>
                  <a:gd name="connsiteY131" fmla="*/ 78142 h 374353"/>
                  <a:gd name="connsiteX132" fmla="*/ 117233 w 433761"/>
                  <a:gd name="connsiteY132" fmla="*/ 73209 h 374353"/>
                  <a:gd name="connsiteX133" fmla="*/ 127535 w 433761"/>
                  <a:gd name="connsiteY133" fmla="*/ 53479 h 374353"/>
                  <a:gd name="connsiteX134" fmla="*/ 153291 w 433761"/>
                  <a:gd name="connsiteY134" fmla="*/ 18952 h 374353"/>
                  <a:gd name="connsiteX135" fmla="*/ 173896 w 433761"/>
                  <a:gd name="connsiteY135" fmla="*/ 9087 h 374353"/>
                  <a:gd name="connsiteX136" fmla="*/ 226650 w 433761"/>
                  <a:gd name="connsiteY136" fmla="*/ 0 h 374353"/>
                  <a:gd name="connsiteX137" fmla="*/ 328252 w 433761"/>
                  <a:gd name="connsiteY137" fmla="*/ 57632 h 374353"/>
                  <a:gd name="connsiteX138" fmla="*/ 274777 w 433761"/>
                  <a:gd name="connsiteY138" fmla="*/ 67238 h 374353"/>
                  <a:gd name="connsiteX139" fmla="*/ 264082 w 433761"/>
                  <a:gd name="connsiteY139" fmla="*/ 43224 h 374353"/>
                  <a:gd name="connsiteX140" fmla="*/ 226650 w 433761"/>
                  <a:gd name="connsiteY140" fmla="*/ 4803 h 374353"/>
                  <a:gd name="connsiteX141" fmla="*/ 226650 w 433761"/>
                  <a:gd name="connsiteY141" fmla="*/ 0 h 374353"/>
                  <a:gd name="connsiteX142" fmla="*/ 142633 w 433761"/>
                  <a:gd name="connsiteY142" fmla="*/ 0 h 374353"/>
                  <a:gd name="connsiteX143" fmla="*/ 142633 w 433761"/>
                  <a:gd name="connsiteY143" fmla="*/ 4803 h 374353"/>
                  <a:gd name="connsiteX144" fmla="*/ 95431 w 433761"/>
                  <a:gd name="connsiteY144" fmla="*/ 67238 h 374353"/>
                  <a:gd name="connsiteX145" fmla="*/ 42985 w 433761"/>
                  <a:gd name="connsiteY145" fmla="*/ 57632 h 374353"/>
                  <a:gd name="connsiteX146" fmla="*/ 142633 w 433761"/>
                  <a:gd name="connsiteY146" fmla="*/ 0 h 374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433761" h="374353">
                    <a:moveTo>
                      <a:pt x="375036" y="292577"/>
                    </a:moveTo>
                    <a:cubicBezTo>
                      <a:pt x="369717" y="292577"/>
                      <a:pt x="364399" y="297423"/>
                      <a:pt x="364399" y="302269"/>
                    </a:cubicBezTo>
                    <a:cubicBezTo>
                      <a:pt x="364399" y="307115"/>
                      <a:pt x="369717" y="311961"/>
                      <a:pt x="375036" y="311961"/>
                    </a:cubicBezTo>
                    <a:cubicBezTo>
                      <a:pt x="385674" y="311961"/>
                      <a:pt x="390993" y="307115"/>
                      <a:pt x="390993" y="302269"/>
                    </a:cubicBezTo>
                    <a:cubicBezTo>
                      <a:pt x="390993" y="297423"/>
                      <a:pt x="385674" y="292577"/>
                      <a:pt x="375036" y="292577"/>
                    </a:cubicBezTo>
                    <a:close/>
                    <a:moveTo>
                      <a:pt x="186010" y="292577"/>
                    </a:moveTo>
                    <a:cubicBezTo>
                      <a:pt x="180734" y="292577"/>
                      <a:pt x="175459" y="297423"/>
                      <a:pt x="175459" y="302269"/>
                    </a:cubicBezTo>
                    <a:cubicBezTo>
                      <a:pt x="175459" y="307115"/>
                      <a:pt x="180734" y="311961"/>
                      <a:pt x="186010" y="311961"/>
                    </a:cubicBezTo>
                    <a:cubicBezTo>
                      <a:pt x="196561" y="311961"/>
                      <a:pt x="201836" y="307115"/>
                      <a:pt x="201836" y="302269"/>
                    </a:cubicBezTo>
                    <a:cubicBezTo>
                      <a:pt x="201836" y="297423"/>
                      <a:pt x="196561" y="292577"/>
                      <a:pt x="186010" y="292577"/>
                    </a:cubicBezTo>
                    <a:close/>
                    <a:moveTo>
                      <a:pt x="96019" y="263501"/>
                    </a:moveTo>
                    <a:cubicBezTo>
                      <a:pt x="101322" y="273193"/>
                      <a:pt x="106625" y="282885"/>
                      <a:pt x="106625" y="292577"/>
                    </a:cubicBezTo>
                    <a:cubicBezTo>
                      <a:pt x="111929" y="297423"/>
                      <a:pt x="117232" y="302269"/>
                      <a:pt x="117232" y="307115"/>
                    </a:cubicBezTo>
                    <a:cubicBezTo>
                      <a:pt x="117232" y="307115"/>
                      <a:pt x="117232" y="307115"/>
                      <a:pt x="117232" y="321653"/>
                    </a:cubicBezTo>
                    <a:cubicBezTo>
                      <a:pt x="90715" y="311961"/>
                      <a:pt x="64198" y="297423"/>
                      <a:pt x="42985" y="273193"/>
                    </a:cubicBezTo>
                    <a:cubicBezTo>
                      <a:pt x="64198" y="268347"/>
                      <a:pt x="80109" y="268347"/>
                      <a:pt x="96019" y="263501"/>
                    </a:cubicBezTo>
                    <a:close/>
                    <a:moveTo>
                      <a:pt x="280471" y="258049"/>
                    </a:moveTo>
                    <a:cubicBezTo>
                      <a:pt x="280471" y="258049"/>
                      <a:pt x="280471" y="258049"/>
                      <a:pt x="285622" y="258049"/>
                    </a:cubicBezTo>
                    <a:cubicBezTo>
                      <a:pt x="285622" y="258049"/>
                      <a:pt x="285622" y="258049"/>
                      <a:pt x="290773" y="258049"/>
                    </a:cubicBezTo>
                    <a:cubicBezTo>
                      <a:pt x="290773" y="258049"/>
                      <a:pt x="290773" y="258049"/>
                      <a:pt x="290773" y="262966"/>
                    </a:cubicBezTo>
                    <a:cubicBezTo>
                      <a:pt x="290773" y="262966"/>
                      <a:pt x="290773" y="262966"/>
                      <a:pt x="295924" y="267884"/>
                    </a:cubicBezTo>
                    <a:cubicBezTo>
                      <a:pt x="301075" y="267884"/>
                      <a:pt x="311378" y="272801"/>
                      <a:pt x="311378" y="277718"/>
                    </a:cubicBezTo>
                    <a:cubicBezTo>
                      <a:pt x="311378" y="277718"/>
                      <a:pt x="311378" y="277718"/>
                      <a:pt x="311378" y="282635"/>
                    </a:cubicBezTo>
                    <a:cubicBezTo>
                      <a:pt x="311378" y="282635"/>
                      <a:pt x="306227" y="282635"/>
                      <a:pt x="306227" y="282635"/>
                    </a:cubicBezTo>
                    <a:cubicBezTo>
                      <a:pt x="306227" y="282635"/>
                      <a:pt x="306227" y="282635"/>
                      <a:pt x="301075" y="282635"/>
                    </a:cubicBezTo>
                    <a:cubicBezTo>
                      <a:pt x="301075" y="282635"/>
                      <a:pt x="301075" y="282635"/>
                      <a:pt x="295924" y="277718"/>
                    </a:cubicBezTo>
                    <a:cubicBezTo>
                      <a:pt x="290773" y="277718"/>
                      <a:pt x="290773" y="277718"/>
                      <a:pt x="285622" y="277718"/>
                    </a:cubicBezTo>
                    <a:cubicBezTo>
                      <a:pt x="285622" y="277718"/>
                      <a:pt x="280471" y="277718"/>
                      <a:pt x="280471" y="277718"/>
                    </a:cubicBezTo>
                    <a:cubicBezTo>
                      <a:pt x="275320" y="282635"/>
                      <a:pt x="275320" y="282635"/>
                      <a:pt x="275320" y="287553"/>
                    </a:cubicBezTo>
                    <a:cubicBezTo>
                      <a:pt x="280471" y="287553"/>
                      <a:pt x="280471" y="292470"/>
                      <a:pt x="285622" y="292470"/>
                    </a:cubicBezTo>
                    <a:cubicBezTo>
                      <a:pt x="285622" y="292470"/>
                      <a:pt x="290773" y="292470"/>
                      <a:pt x="290773" y="297387"/>
                    </a:cubicBezTo>
                    <a:cubicBezTo>
                      <a:pt x="301075" y="297387"/>
                      <a:pt x="311378" y="302304"/>
                      <a:pt x="311378" y="312139"/>
                    </a:cubicBezTo>
                    <a:cubicBezTo>
                      <a:pt x="316529" y="317056"/>
                      <a:pt x="316529" y="326890"/>
                      <a:pt x="306227" y="331808"/>
                    </a:cubicBezTo>
                    <a:cubicBezTo>
                      <a:pt x="306227" y="331808"/>
                      <a:pt x="301075" y="336725"/>
                      <a:pt x="290773" y="336725"/>
                    </a:cubicBezTo>
                    <a:cubicBezTo>
                      <a:pt x="290773" y="336725"/>
                      <a:pt x="290773" y="336725"/>
                      <a:pt x="290773" y="341642"/>
                    </a:cubicBezTo>
                    <a:cubicBezTo>
                      <a:pt x="290773" y="341642"/>
                      <a:pt x="290773" y="341642"/>
                      <a:pt x="285622" y="341642"/>
                    </a:cubicBezTo>
                    <a:cubicBezTo>
                      <a:pt x="285622" y="341642"/>
                      <a:pt x="285622" y="341642"/>
                      <a:pt x="280471" y="341642"/>
                    </a:cubicBezTo>
                    <a:cubicBezTo>
                      <a:pt x="280471" y="341642"/>
                      <a:pt x="280471" y="341642"/>
                      <a:pt x="280471" y="336725"/>
                    </a:cubicBezTo>
                    <a:cubicBezTo>
                      <a:pt x="275320" y="331808"/>
                      <a:pt x="265017" y="331808"/>
                      <a:pt x="265017" y="326890"/>
                    </a:cubicBezTo>
                    <a:cubicBezTo>
                      <a:pt x="259866" y="321973"/>
                      <a:pt x="259866" y="321973"/>
                      <a:pt x="265017" y="321973"/>
                    </a:cubicBezTo>
                    <a:cubicBezTo>
                      <a:pt x="265017" y="317056"/>
                      <a:pt x="265017" y="317056"/>
                      <a:pt x="270168" y="317056"/>
                    </a:cubicBezTo>
                    <a:cubicBezTo>
                      <a:pt x="270168" y="317056"/>
                      <a:pt x="270168" y="317056"/>
                      <a:pt x="275320" y="317056"/>
                    </a:cubicBezTo>
                    <a:cubicBezTo>
                      <a:pt x="275320" y="321973"/>
                      <a:pt x="280471" y="321973"/>
                      <a:pt x="280471" y="321973"/>
                    </a:cubicBezTo>
                    <a:cubicBezTo>
                      <a:pt x="285622" y="321973"/>
                      <a:pt x="285622" y="321973"/>
                      <a:pt x="290773" y="321973"/>
                    </a:cubicBezTo>
                    <a:cubicBezTo>
                      <a:pt x="295924" y="321973"/>
                      <a:pt x="295924" y="321973"/>
                      <a:pt x="295924" y="321973"/>
                    </a:cubicBezTo>
                    <a:cubicBezTo>
                      <a:pt x="301075" y="321973"/>
                      <a:pt x="301075" y="317056"/>
                      <a:pt x="301075" y="312139"/>
                    </a:cubicBezTo>
                    <a:cubicBezTo>
                      <a:pt x="301075" y="312139"/>
                      <a:pt x="295924" y="312139"/>
                      <a:pt x="295924" y="312139"/>
                    </a:cubicBezTo>
                    <a:cubicBezTo>
                      <a:pt x="295924" y="312139"/>
                      <a:pt x="295924" y="312139"/>
                      <a:pt x="290773" y="307221"/>
                    </a:cubicBezTo>
                    <a:cubicBezTo>
                      <a:pt x="285622" y="307221"/>
                      <a:pt x="275320" y="302304"/>
                      <a:pt x="270168" y="297387"/>
                    </a:cubicBezTo>
                    <a:cubicBezTo>
                      <a:pt x="270168" y="297387"/>
                      <a:pt x="265017" y="297387"/>
                      <a:pt x="265017" y="292470"/>
                    </a:cubicBezTo>
                    <a:cubicBezTo>
                      <a:pt x="259866" y="287553"/>
                      <a:pt x="265017" y="277718"/>
                      <a:pt x="270168" y="272801"/>
                    </a:cubicBezTo>
                    <a:cubicBezTo>
                      <a:pt x="270168" y="267884"/>
                      <a:pt x="275320" y="267884"/>
                      <a:pt x="280471" y="262966"/>
                    </a:cubicBezTo>
                    <a:cubicBezTo>
                      <a:pt x="280471" y="262966"/>
                      <a:pt x="280471" y="262966"/>
                      <a:pt x="280471" y="258049"/>
                    </a:cubicBezTo>
                    <a:close/>
                    <a:moveTo>
                      <a:pt x="316528" y="248963"/>
                    </a:moveTo>
                    <a:cubicBezTo>
                      <a:pt x="316528" y="248963"/>
                      <a:pt x="316528" y="248963"/>
                      <a:pt x="396312" y="248963"/>
                    </a:cubicBezTo>
                    <a:cubicBezTo>
                      <a:pt x="396312" y="248963"/>
                      <a:pt x="396312" y="248963"/>
                      <a:pt x="396312" y="253809"/>
                    </a:cubicBezTo>
                    <a:cubicBezTo>
                      <a:pt x="396312" y="263501"/>
                      <a:pt x="401631" y="268347"/>
                      <a:pt x="406950" y="268347"/>
                    </a:cubicBezTo>
                    <a:cubicBezTo>
                      <a:pt x="406950" y="268347"/>
                      <a:pt x="406950" y="268347"/>
                      <a:pt x="412269" y="268347"/>
                    </a:cubicBezTo>
                    <a:cubicBezTo>
                      <a:pt x="412269" y="268347"/>
                      <a:pt x="412269" y="268347"/>
                      <a:pt x="412269" y="336191"/>
                    </a:cubicBezTo>
                    <a:cubicBezTo>
                      <a:pt x="412269" y="336191"/>
                      <a:pt x="412269" y="336191"/>
                      <a:pt x="406950" y="336191"/>
                    </a:cubicBezTo>
                    <a:cubicBezTo>
                      <a:pt x="401631" y="336191"/>
                      <a:pt x="396312" y="341037"/>
                      <a:pt x="396312" y="350729"/>
                    </a:cubicBezTo>
                    <a:cubicBezTo>
                      <a:pt x="396312" y="350729"/>
                      <a:pt x="396312" y="350729"/>
                      <a:pt x="321847" y="350729"/>
                    </a:cubicBezTo>
                    <a:cubicBezTo>
                      <a:pt x="337804" y="341037"/>
                      <a:pt x="348442" y="321653"/>
                      <a:pt x="348442" y="302269"/>
                    </a:cubicBezTo>
                    <a:cubicBezTo>
                      <a:pt x="348442" y="278039"/>
                      <a:pt x="337804" y="258655"/>
                      <a:pt x="316528" y="248963"/>
                    </a:cubicBezTo>
                    <a:close/>
                    <a:moveTo>
                      <a:pt x="170183" y="248963"/>
                    </a:moveTo>
                    <a:cubicBezTo>
                      <a:pt x="170183" y="248963"/>
                      <a:pt x="170183" y="248963"/>
                      <a:pt x="259866" y="248963"/>
                    </a:cubicBezTo>
                    <a:cubicBezTo>
                      <a:pt x="238764" y="258655"/>
                      <a:pt x="228213" y="278039"/>
                      <a:pt x="228213" y="302269"/>
                    </a:cubicBezTo>
                    <a:cubicBezTo>
                      <a:pt x="228213" y="321653"/>
                      <a:pt x="238764" y="341037"/>
                      <a:pt x="254591" y="350729"/>
                    </a:cubicBezTo>
                    <a:cubicBezTo>
                      <a:pt x="254591" y="350729"/>
                      <a:pt x="254591" y="350729"/>
                      <a:pt x="170183" y="350729"/>
                    </a:cubicBezTo>
                    <a:cubicBezTo>
                      <a:pt x="170183" y="341037"/>
                      <a:pt x="164908" y="336191"/>
                      <a:pt x="159632" y="336191"/>
                    </a:cubicBezTo>
                    <a:cubicBezTo>
                      <a:pt x="159632" y="336191"/>
                      <a:pt x="159632" y="336191"/>
                      <a:pt x="154357" y="336191"/>
                    </a:cubicBezTo>
                    <a:cubicBezTo>
                      <a:pt x="154357" y="336191"/>
                      <a:pt x="154357" y="336191"/>
                      <a:pt x="154357" y="268347"/>
                    </a:cubicBezTo>
                    <a:cubicBezTo>
                      <a:pt x="154357" y="268347"/>
                      <a:pt x="154357" y="268347"/>
                      <a:pt x="159632" y="268347"/>
                    </a:cubicBezTo>
                    <a:cubicBezTo>
                      <a:pt x="164908" y="268347"/>
                      <a:pt x="170183" y="263501"/>
                      <a:pt x="170183" y="253809"/>
                    </a:cubicBezTo>
                    <a:cubicBezTo>
                      <a:pt x="170183" y="253809"/>
                      <a:pt x="170183" y="253809"/>
                      <a:pt x="170183" y="248963"/>
                    </a:cubicBezTo>
                    <a:close/>
                    <a:moveTo>
                      <a:pt x="142633" y="238059"/>
                    </a:moveTo>
                    <a:lnTo>
                      <a:pt x="142633" y="359815"/>
                    </a:lnTo>
                    <a:lnTo>
                      <a:pt x="422038" y="359815"/>
                    </a:lnTo>
                    <a:lnTo>
                      <a:pt x="422038" y="238059"/>
                    </a:lnTo>
                    <a:close/>
                    <a:moveTo>
                      <a:pt x="132864" y="228973"/>
                    </a:moveTo>
                    <a:lnTo>
                      <a:pt x="433761" y="228973"/>
                    </a:lnTo>
                    <a:lnTo>
                      <a:pt x="433761" y="374353"/>
                    </a:lnTo>
                    <a:lnTo>
                      <a:pt x="132864" y="374353"/>
                    </a:lnTo>
                    <a:close/>
                    <a:moveTo>
                      <a:pt x="290517" y="174456"/>
                    </a:moveTo>
                    <a:cubicBezTo>
                      <a:pt x="290517" y="174456"/>
                      <a:pt x="290517" y="174456"/>
                      <a:pt x="369283" y="174456"/>
                    </a:cubicBezTo>
                    <a:cubicBezTo>
                      <a:pt x="364032" y="189600"/>
                      <a:pt x="364032" y="204743"/>
                      <a:pt x="358781" y="219887"/>
                    </a:cubicBezTo>
                    <a:cubicBezTo>
                      <a:pt x="358781" y="219887"/>
                      <a:pt x="358781" y="219887"/>
                      <a:pt x="285266" y="219887"/>
                    </a:cubicBezTo>
                    <a:cubicBezTo>
                      <a:pt x="290517" y="204743"/>
                      <a:pt x="290517" y="189600"/>
                      <a:pt x="290517" y="174456"/>
                    </a:cubicBezTo>
                    <a:close/>
                    <a:moveTo>
                      <a:pt x="195388" y="174456"/>
                    </a:moveTo>
                    <a:cubicBezTo>
                      <a:pt x="195388" y="174456"/>
                      <a:pt x="195388" y="174456"/>
                      <a:pt x="269635" y="174456"/>
                    </a:cubicBezTo>
                    <a:cubicBezTo>
                      <a:pt x="269635" y="189600"/>
                      <a:pt x="269635" y="204743"/>
                      <a:pt x="264332" y="219887"/>
                    </a:cubicBezTo>
                    <a:cubicBezTo>
                      <a:pt x="264332" y="219887"/>
                      <a:pt x="264332" y="219887"/>
                      <a:pt x="195388" y="219887"/>
                    </a:cubicBezTo>
                    <a:cubicBezTo>
                      <a:pt x="195388" y="219887"/>
                      <a:pt x="195388" y="219887"/>
                      <a:pt x="195388" y="174456"/>
                    </a:cubicBezTo>
                    <a:close/>
                    <a:moveTo>
                      <a:pt x="101602" y="174456"/>
                    </a:moveTo>
                    <a:cubicBezTo>
                      <a:pt x="101602" y="174456"/>
                      <a:pt x="101602" y="174456"/>
                      <a:pt x="173896" y="174456"/>
                    </a:cubicBezTo>
                    <a:lnTo>
                      <a:pt x="173896" y="218489"/>
                    </a:lnTo>
                    <a:cubicBezTo>
                      <a:pt x="173896" y="218489"/>
                      <a:pt x="173896" y="218489"/>
                      <a:pt x="117094" y="218489"/>
                    </a:cubicBezTo>
                    <a:cubicBezTo>
                      <a:pt x="117094" y="218489"/>
                      <a:pt x="117094" y="218489"/>
                      <a:pt x="117094" y="238059"/>
                    </a:cubicBezTo>
                    <a:cubicBezTo>
                      <a:pt x="117094" y="238059"/>
                      <a:pt x="111930" y="238059"/>
                      <a:pt x="111930" y="238059"/>
                    </a:cubicBezTo>
                    <a:cubicBezTo>
                      <a:pt x="106766" y="218489"/>
                      <a:pt x="101602" y="198919"/>
                      <a:pt x="101602" y="174456"/>
                    </a:cubicBezTo>
                    <a:close/>
                    <a:moveTo>
                      <a:pt x="0" y="174456"/>
                    </a:moveTo>
                    <a:cubicBezTo>
                      <a:pt x="0" y="174456"/>
                      <a:pt x="0" y="174456"/>
                      <a:pt x="79304" y="174456"/>
                    </a:cubicBezTo>
                    <a:cubicBezTo>
                      <a:pt x="79304" y="199042"/>
                      <a:pt x="84591" y="223628"/>
                      <a:pt x="89878" y="243297"/>
                    </a:cubicBezTo>
                    <a:cubicBezTo>
                      <a:pt x="68730" y="248214"/>
                      <a:pt x="47582" y="253132"/>
                      <a:pt x="31722" y="258049"/>
                    </a:cubicBezTo>
                    <a:cubicBezTo>
                      <a:pt x="15861" y="233463"/>
                      <a:pt x="5287" y="203959"/>
                      <a:pt x="0" y="174456"/>
                    </a:cubicBezTo>
                    <a:close/>
                    <a:moveTo>
                      <a:pt x="259028" y="92680"/>
                    </a:moveTo>
                    <a:cubicBezTo>
                      <a:pt x="264332" y="112250"/>
                      <a:pt x="269635" y="131820"/>
                      <a:pt x="269635" y="156283"/>
                    </a:cubicBezTo>
                    <a:cubicBezTo>
                      <a:pt x="269635" y="156283"/>
                      <a:pt x="269635" y="156283"/>
                      <a:pt x="195388" y="156283"/>
                    </a:cubicBezTo>
                    <a:cubicBezTo>
                      <a:pt x="195388" y="156283"/>
                      <a:pt x="195388" y="156283"/>
                      <a:pt x="195388" y="97572"/>
                    </a:cubicBezTo>
                    <a:cubicBezTo>
                      <a:pt x="216601" y="97572"/>
                      <a:pt x="237815" y="92680"/>
                      <a:pt x="259028" y="92680"/>
                    </a:cubicBezTo>
                    <a:close/>
                    <a:moveTo>
                      <a:pt x="111930" y="92680"/>
                    </a:moveTo>
                    <a:cubicBezTo>
                      <a:pt x="132585" y="92680"/>
                      <a:pt x="153241" y="97572"/>
                      <a:pt x="173896" y="97572"/>
                    </a:cubicBezTo>
                    <a:cubicBezTo>
                      <a:pt x="173896" y="97572"/>
                      <a:pt x="173896" y="97572"/>
                      <a:pt x="173896" y="156283"/>
                    </a:cubicBezTo>
                    <a:cubicBezTo>
                      <a:pt x="173896" y="156283"/>
                      <a:pt x="173896" y="156283"/>
                      <a:pt x="101602" y="156283"/>
                    </a:cubicBezTo>
                    <a:cubicBezTo>
                      <a:pt x="101602" y="131820"/>
                      <a:pt x="106766" y="112250"/>
                      <a:pt x="111930" y="92680"/>
                    </a:cubicBezTo>
                    <a:close/>
                    <a:moveTo>
                      <a:pt x="337561" y="72690"/>
                    </a:moveTo>
                    <a:cubicBezTo>
                      <a:pt x="353422" y="97276"/>
                      <a:pt x="363996" y="126779"/>
                      <a:pt x="369283" y="156283"/>
                    </a:cubicBezTo>
                    <a:cubicBezTo>
                      <a:pt x="369283" y="156283"/>
                      <a:pt x="369283" y="156283"/>
                      <a:pt x="289979" y="156283"/>
                    </a:cubicBezTo>
                    <a:cubicBezTo>
                      <a:pt x="289979" y="131697"/>
                      <a:pt x="284692" y="107111"/>
                      <a:pt x="279405" y="87442"/>
                    </a:cubicBezTo>
                    <a:cubicBezTo>
                      <a:pt x="300553" y="82524"/>
                      <a:pt x="321701" y="77607"/>
                      <a:pt x="337561" y="72690"/>
                    </a:cubicBezTo>
                    <a:close/>
                    <a:moveTo>
                      <a:pt x="31722" y="72690"/>
                    </a:moveTo>
                    <a:cubicBezTo>
                      <a:pt x="47582" y="77607"/>
                      <a:pt x="68730" y="82524"/>
                      <a:pt x="89878" y="87442"/>
                    </a:cubicBezTo>
                    <a:cubicBezTo>
                      <a:pt x="84591" y="107111"/>
                      <a:pt x="79304" y="131697"/>
                      <a:pt x="79304" y="156283"/>
                    </a:cubicBezTo>
                    <a:cubicBezTo>
                      <a:pt x="79304" y="156283"/>
                      <a:pt x="79304" y="156283"/>
                      <a:pt x="0" y="156283"/>
                    </a:cubicBezTo>
                    <a:cubicBezTo>
                      <a:pt x="5287" y="126779"/>
                      <a:pt x="15861" y="97276"/>
                      <a:pt x="31722" y="72690"/>
                    </a:cubicBezTo>
                    <a:close/>
                    <a:moveTo>
                      <a:pt x="195388" y="9087"/>
                    </a:moveTo>
                    <a:cubicBezTo>
                      <a:pt x="200717" y="9087"/>
                      <a:pt x="211374" y="14019"/>
                      <a:pt x="216703" y="18952"/>
                    </a:cubicBezTo>
                    <a:cubicBezTo>
                      <a:pt x="227360" y="28817"/>
                      <a:pt x="243347" y="48547"/>
                      <a:pt x="254004" y="73209"/>
                    </a:cubicBezTo>
                    <a:cubicBezTo>
                      <a:pt x="232689" y="73209"/>
                      <a:pt x="216703" y="78142"/>
                      <a:pt x="195388" y="78142"/>
                    </a:cubicBezTo>
                    <a:cubicBezTo>
                      <a:pt x="195388" y="78142"/>
                      <a:pt x="195388" y="78142"/>
                      <a:pt x="195388" y="9087"/>
                    </a:cubicBezTo>
                    <a:close/>
                    <a:moveTo>
                      <a:pt x="173896" y="9087"/>
                    </a:moveTo>
                    <a:cubicBezTo>
                      <a:pt x="173896" y="9087"/>
                      <a:pt x="173896" y="9087"/>
                      <a:pt x="173896" y="78142"/>
                    </a:cubicBezTo>
                    <a:cubicBezTo>
                      <a:pt x="153291" y="78142"/>
                      <a:pt x="137838" y="73209"/>
                      <a:pt x="117233" y="73209"/>
                    </a:cubicBezTo>
                    <a:cubicBezTo>
                      <a:pt x="122384" y="63344"/>
                      <a:pt x="122384" y="58412"/>
                      <a:pt x="127535" y="53479"/>
                    </a:cubicBezTo>
                    <a:cubicBezTo>
                      <a:pt x="137838" y="38682"/>
                      <a:pt x="142989" y="23884"/>
                      <a:pt x="153291" y="18952"/>
                    </a:cubicBezTo>
                    <a:cubicBezTo>
                      <a:pt x="163594" y="14019"/>
                      <a:pt x="168745" y="9087"/>
                      <a:pt x="173896" y="9087"/>
                    </a:cubicBezTo>
                    <a:close/>
                    <a:moveTo>
                      <a:pt x="226650" y="0"/>
                    </a:moveTo>
                    <a:cubicBezTo>
                      <a:pt x="264082" y="9605"/>
                      <a:pt x="301515" y="28816"/>
                      <a:pt x="328252" y="57632"/>
                    </a:cubicBezTo>
                    <a:cubicBezTo>
                      <a:pt x="312210" y="62435"/>
                      <a:pt x="290820" y="67238"/>
                      <a:pt x="274777" y="67238"/>
                    </a:cubicBezTo>
                    <a:cubicBezTo>
                      <a:pt x="269430" y="57632"/>
                      <a:pt x="264082" y="48027"/>
                      <a:pt x="264082" y="43224"/>
                    </a:cubicBezTo>
                    <a:cubicBezTo>
                      <a:pt x="253387" y="24013"/>
                      <a:pt x="242692" y="14408"/>
                      <a:pt x="226650" y="4803"/>
                    </a:cubicBezTo>
                    <a:cubicBezTo>
                      <a:pt x="226650" y="4803"/>
                      <a:pt x="226650" y="4803"/>
                      <a:pt x="226650" y="0"/>
                    </a:cubicBezTo>
                    <a:close/>
                    <a:moveTo>
                      <a:pt x="142633" y="0"/>
                    </a:moveTo>
                    <a:cubicBezTo>
                      <a:pt x="142633" y="0"/>
                      <a:pt x="142633" y="0"/>
                      <a:pt x="142633" y="4803"/>
                    </a:cubicBezTo>
                    <a:cubicBezTo>
                      <a:pt x="121654" y="19211"/>
                      <a:pt x="105921" y="38422"/>
                      <a:pt x="95431" y="67238"/>
                    </a:cubicBezTo>
                    <a:cubicBezTo>
                      <a:pt x="79697" y="67238"/>
                      <a:pt x="58719" y="62435"/>
                      <a:pt x="42985" y="57632"/>
                    </a:cubicBezTo>
                    <a:cubicBezTo>
                      <a:pt x="69208" y="28816"/>
                      <a:pt x="105921" y="9605"/>
                      <a:pt x="142633" y="0"/>
                    </a:cubicBezTo>
                    <a:close/>
                  </a:path>
                </a:pathLst>
              </a:custGeom>
              <a:solidFill>
                <a:schemeClr val="accent1">
                  <a:lumMod val="50000"/>
                </a:schemeClr>
              </a:solidFill>
              <a:ln w="9525">
                <a:noFill/>
                <a:round/>
                <a:headEnd/>
                <a:tailEnd/>
              </a:ln>
            </p:spPr>
            <p:txBody>
              <a:bodyPr anchor="ctr"/>
              <a:lstStyle/>
              <a:p>
                <a:pPr algn="ctr"/>
                <a:endParaRPr>
                  <a:latin typeface="微软雅黑" panose="020B0503020204020204" pitchFamily="34" charset="-122"/>
                  <a:ea typeface="微软雅黑" panose="020B0503020204020204" pitchFamily="34" charset="-122"/>
                </a:endParaRPr>
              </a:p>
            </p:txBody>
          </p:sp>
          <p:sp>
            <p:nvSpPr>
              <p:cNvPr id="62" name="文本框 96"/>
              <p:cNvSpPr txBox="1">
                <a:spLocks/>
              </p:cNvSpPr>
              <p:nvPr/>
            </p:nvSpPr>
            <p:spPr bwMode="auto">
              <a:xfrm>
                <a:off x="8865214" y="3145546"/>
                <a:ext cx="2088062" cy="521178"/>
              </a:xfrm>
              <a:prstGeom prst="rect">
                <a:avLst/>
              </a:prstGeom>
              <a:noFill/>
              <a:extLst/>
            </p:spPr>
            <p:txBody>
              <a:bodyPr wrap="none" lIns="0" tIns="0" rIns="0" bIns="0" anchor="ctr" anchorCtr="1">
                <a:normAutofit/>
              </a:bodyPr>
              <a:lstStyle/>
              <a:p>
                <a:r>
                  <a:rPr lang="zh-CN" altLang="en-US" sz="1400" dirty="0">
                    <a:latin typeface="等线 Light" panose="02010600030101010101" pitchFamily="2" charset="-122"/>
                    <a:ea typeface="等线 Light" panose="02010600030101010101" pitchFamily="2" charset="-122"/>
                  </a:rPr>
                  <a:t>标题文本预设</a:t>
                </a:r>
              </a:p>
            </p:txBody>
          </p:sp>
        </p:grpSp>
      </p:grpSp>
      <p:sp>
        <p:nvSpPr>
          <p:cNvPr id="94"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95"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6"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4063985556"/>
      </p:ext>
    </p:extLst>
  </p:cSld>
  <p:clrMapOvr>
    <a:masterClrMapping/>
  </p:clrMapOvr>
  <mc:AlternateContent xmlns:mc="http://schemas.openxmlformats.org/markup-compatibility/2006" xmlns:p14="http://schemas.microsoft.com/office/powerpoint/2010/main">
    <mc:Choice Requires="p14">
      <p:transition spd="slow" p14:dur="1200" advTm="714">
        <p:dissolve/>
      </p:transition>
    </mc:Choice>
    <mc:Fallback xmlns="">
      <p:transition spd="slow" advTm="714">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par>
                          <p:cTn id="7" fill="hold">
                            <p:stCondLst>
                              <p:cond delay="0"/>
                            </p:stCondLst>
                            <p:childTnLst>
                              <p:par>
                                <p:cTn id="8" presetID="16" presetClass="entr" presetSubtype="21" fill="hold"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barn(inVertical)">
                                      <p:cBhvr>
                                        <p:cTn id="1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1"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矩形 10"/>
          <p:cNvSpPr/>
          <p:nvPr/>
        </p:nvSpPr>
        <p:spPr>
          <a:xfrm>
            <a:off x="2424841" y="2509684"/>
            <a:ext cx="7175500" cy="179070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2"/>
          <p:cNvSpPr txBox="1">
            <a:spLocks noChangeArrowheads="1"/>
          </p:cNvSpPr>
          <p:nvPr/>
        </p:nvSpPr>
        <p:spPr bwMode="auto">
          <a:xfrm>
            <a:off x="3228532" y="2850330"/>
            <a:ext cx="5572125" cy="646113"/>
          </a:xfrm>
          <a:prstGeom prst="rect">
            <a:avLst/>
          </a:prstGeom>
          <a:noFill/>
          <a:ln w="9525">
            <a:noFill/>
            <a:miter lim="800000"/>
            <a:headEnd/>
            <a:tailEnd/>
          </a:ln>
        </p:spPr>
        <p:txBody>
          <a:bodyPr>
            <a:spAutoFit/>
          </a:bodyPr>
          <a:lstStyle/>
          <a:p>
            <a:pPr algn="ctr"/>
            <a:r>
              <a:rPr lang="zh-CN" altLang="en-US" sz="3600" dirty="0">
                <a:solidFill>
                  <a:schemeClr val="bg1"/>
                </a:solidFill>
                <a:latin typeface="等线 Light" panose="02010600030101010101" pitchFamily="2" charset="-122"/>
                <a:ea typeface="等线 Light" panose="02010600030101010101" pitchFamily="2" charset="-122"/>
              </a:rPr>
              <a:t>输入标题</a:t>
            </a:r>
            <a:endParaRPr lang="en-US" altLang="zh-CN" sz="3600" dirty="0">
              <a:solidFill>
                <a:schemeClr val="bg1"/>
              </a:solidFill>
              <a:latin typeface="等线 Light" panose="02010600030101010101" pitchFamily="2" charset="-122"/>
              <a:ea typeface="等线 Light" panose="02010600030101010101" pitchFamily="2" charset="-122"/>
            </a:endParaRPr>
          </a:p>
        </p:txBody>
      </p:sp>
      <p:sp>
        <p:nvSpPr>
          <p:cNvPr id="6" name="文本框 3"/>
          <p:cNvSpPr txBox="1">
            <a:spLocks noChangeArrowheads="1"/>
          </p:cNvSpPr>
          <p:nvPr/>
        </p:nvSpPr>
        <p:spPr bwMode="auto">
          <a:xfrm>
            <a:off x="5362011" y="3589996"/>
            <a:ext cx="1295547" cy="646331"/>
          </a:xfrm>
          <a:prstGeom prst="rect">
            <a:avLst/>
          </a:prstGeom>
          <a:noFill/>
          <a:ln w="9525">
            <a:noFill/>
            <a:miter lim="800000"/>
            <a:headEnd/>
            <a:tailEnd/>
          </a:ln>
        </p:spPr>
        <p:txBody>
          <a:bodyPr wrap="none">
            <a:spAutoFit/>
          </a:bodyPr>
          <a:lstStyle/>
          <a:p>
            <a:pPr eaLnBrk="1" hangingPunct="1">
              <a:buFont typeface="Arial" pitchFamily="34" charset="0"/>
              <a:buNone/>
            </a:pPr>
            <a:r>
              <a:rPr lang="en-US" altLang="zh-CN" sz="3600" b="1" dirty="0">
                <a:solidFill>
                  <a:schemeClr val="bg1"/>
                </a:solidFill>
                <a:latin typeface="等线 Light" panose="02010600030101010101" pitchFamily="2" charset="-122"/>
                <a:ea typeface="等线 Light" panose="02010600030101010101" pitchFamily="2" charset="-122"/>
              </a:rPr>
              <a:t>Part.2</a:t>
            </a:r>
            <a:endParaRPr lang="zh-CN" altLang="en-US" sz="3600" b="1" dirty="0">
              <a:solidFill>
                <a:schemeClr val="bg1"/>
              </a:solidFill>
              <a:latin typeface="等线 Light" panose="02010600030101010101" pitchFamily="2" charset="-122"/>
              <a:ea typeface="等线 Light" panose="02010600030101010101" pitchFamily="2" charset="-122"/>
            </a:endParaRPr>
          </a:p>
        </p:txBody>
      </p:sp>
      <p:cxnSp>
        <p:nvCxnSpPr>
          <p:cNvPr id="9" name="直接连接符 8"/>
          <p:cNvCxnSpPr/>
          <p:nvPr/>
        </p:nvCxnSpPr>
        <p:spPr>
          <a:xfrm>
            <a:off x="1" y="4300384"/>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音频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826412840"/>
      </p:ext>
    </p:extLst>
  </p:cSld>
  <p:clrMapOvr>
    <a:masterClrMapping/>
  </p:clrMapOvr>
  <mc:AlternateContent xmlns:mc="http://schemas.openxmlformats.org/markup-compatibility/2006" xmlns:p14="http://schemas.microsoft.com/office/powerpoint/2010/main">
    <mc:Choice Requires="p14">
      <p:transition spd="slow" p14:dur="1200" advTm="694">
        <p:dissolve/>
      </p:transition>
    </mc:Choice>
    <mc:Fallback xmlns="">
      <p:transition spd="slow" advTm="694">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3004356"/>
            <a:ext cx="12192000" cy="3853644"/>
          </a:xfrm>
          <a:prstGeom prst="rect">
            <a:avLst/>
          </a:prstGeom>
          <a:noFill/>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Lst>
        </p:spPr>
      </p:pic>
      <p:grpSp>
        <p:nvGrpSpPr>
          <p:cNvPr id="3" name="组 36"/>
          <p:cNvGrpSpPr>
            <a:grpSpLocks/>
          </p:cNvGrpSpPr>
          <p:nvPr/>
        </p:nvGrpSpPr>
        <p:grpSpPr bwMode="auto">
          <a:xfrm>
            <a:off x="2533873" y="1858492"/>
            <a:ext cx="2263387" cy="3924371"/>
            <a:chOff x="1809834" y="1609292"/>
            <a:chExt cx="1694956" cy="2940050"/>
          </a:xfrm>
          <a:effectLst>
            <a:outerShdw blurRad="50800" dist="38100" dir="2700000" algn="tl" rotWithShape="0">
              <a:prstClr val="black">
                <a:alpha val="40000"/>
              </a:prstClr>
            </a:outerShdw>
          </a:effectLst>
        </p:grpSpPr>
        <p:sp>
          <p:nvSpPr>
            <p:cNvPr id="4" name="矩形 3"/>
            <p:cNvSpPr/>
            <p:nvPr/>
          </p:nvSpPr>
          <p:spPr>
            <a:xfrm rot="10800000">
              <a:off x="1809834" y="1609292"/>
              <a:ext cx="1694956" cy="114910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solidFill>
                  <a:schemeClr val="bg1"/>
                </a:solidFill>
              </a:endParaRPr>
            </a:p>
          </p:txBody>
        </p:sp>
        <p:sp>
          <p:nvSpPr>
            <p:cNvPr id="5" name="矩形 4"/>
            <p:cNvSpPr/>
            <p:nvPr/>
          </p:nvSpPr>
          <p:spPr>
            <a:xfrm rot="10800000">
              <a:off x="1918150" y="2923919"/>
              <a:ext cx="1479515" cy="162542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solidFill>
                  <a:schemeClr val="bg1"/>
                </a:solidFill>
              </a:endParaRPr>
            </a:p>
          </p:txBody>
        </p:sp>
        <p:sp>
          <p:nvSpPr>
            <p:cNvPr id="6" name="梯形 5"/>
            <p:cNvSpPr/>
            <p:nvPr/>
          </p:nvSpPr>
          <p:spPr>
            <a:xfrm rot="10800000">
              <a:off x="1809834" y="2758400"/>
              <a:ext cx="1694956" cy="165519"/>
            </a:xfrm>
            <a:prstGeom prst="trapezoid">
              <a:avLst>
                <a:gd name="adj" fmla="val 67593"/>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solidFill>
                  <a:schemeClr val="bg1"/>
                </a:solidFill>
              </a:endParaRPr>
            </a:p>
          </p:txBody>
        </p:sp>
      </p:grpSp>
      <p:grpSp>
        <p:nvGrpSpPr>
          <p:cNvPr id="7" name="组 38"/>
          <p:cNvGrpSpPr>
            <a:grpSpLocks/>
          </p:cNvGrpSpPr>
          <p:nvPr/>
        </p:nvGrpSpPr>
        <p:grpSpPr bwMode="auto">
          <a:xfrm>
            <a:off x="5093490" y="1858492"/>
            <a:ext cx="2261799" cy="3924372"/>
            <a:chOff x="4324434" y="1609292"/>
            <a:chExt cx="1694956" cy="2940050"/>
          </a:xfrm>
          <a:effectLst>
            <a:outerShdw blurRad="50800" dist="38100" dir="2700000" algn="tl" rotWithShape="0">
              <a:prstClr val="black">
                <a:alpha val="40000"/>
              </a:prstClr>
            </a:outerShdw>
          </a:effectLst>
        </p:grpSpPr>
        <p:sp>
          <p:nvSpPr>
            <p:cNvPr id="8" name="矩形 7"/>
            <p:cNvSpPr/>
            <p:nvPr/>
          </p:nvSpPr>
          <p:spPr>
            <a:xfrm rot="10800000">
              <a:off x="4324434" y="1609292"/>
              <a:ext cx="1694956" cy="114910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p>
          </p:txBody>
        </p:sp>
        <p:sp>
          <p:nvSpPr>
            <p:cNvPr id="9" name="矩形 8"/>
            <p:cNvSpPr/>
            <p:nvPr/>
          </p:nvSpPr>
          <p:spPr>
            <a:xfrm rot="10800000">
              <a:off x="4432826" y="2923919"/>
              <a:ext cx="1479364" cy="162542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p>
          </p:txBody>
        </p:sp>
        <p:sp>
          <p:nvSpPr>
            <p:cNvPr id="10" name="梯形 9"/>
            <p:cNvSpPr/>
            <p:nvPr/>
          </p:nvSpPr>
          <p:spPr>
            <a:xfrm rot="10800000">
              <a:off x="4324434" y="2758400"/>
              <a:ext cx="1694956" cy="165519"/>
            </a:xfrm>
            <a:prstGeom prst="trapezoid">
              <a:avLst>
                <a:gd name="adj" fmla="val 67593"/>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p>
          </p:txBody>
        </p:sp>
      </p:grpSp>
      <p:grpSp>
        <p:nvGrpSpPr>
          <p:cNvPr id="11" name="组 37"/>
          <p:cNvGrpSpPr>
            <a:grpSpLocks/>
          </p:cNvGrpSpPr>
          <p:nvPr/>
        </p:nvGrpSpPr>
        <p:grpSpPr bwMode="auto">
          <a:xfrm>
            <a:off x="7634387" y="1858492"/>
            <a:ext cx="2261799" cy="3924372"/>
            <a:chOff x="6947469" y="1609292"/>
            <a:chExt cx="1694956" cy="2940050"/>
          </a:xfrm>
          <a:effectLst>
            <a:outerShdw blurRad="50800" dist="38100" dir="2700000" algn="tl" rotWithShape="0">
              <a:prstClr val="black">
                <a:alpha val="40000"/>
              </a:prstClr>
            </a:outerShdw>
          </a:effectLst>
        </p:grpSpPr>
        <p:sp>
          <p:nvSpPr>
            <p:cNvPr id="12" name="矩形 11"/>
            <p:cNvSpPr/>
            <p:nvPr/>
          </p:nvSpPr>
          <p:spPr>
            <a:xfrm rot="10800000">
              <a:off x="6947469" y="1609292"/>
              <a:ext cx="1694956" cy="114910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p>
          </p:txBody>
        </p:sp>
        <p:sp>
          <p:nvSpPr>
            <p:cNvPr id="13" name="矩形 12"/>
            <p:cNvSpPr/>
            <p:nvPr/>
          </p:nvSpPr>
          <p:spPr>
            <a:xfrm rot="10800000">
              <a:off x="7055861" y="2923919"/>
              <a:ext cx="1479364" cy="162542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p>
          </p:txBody>
        </p:sp>
        <p:sp>
          <p:nvSpPr>
            <p:cNvPr id="14" name="梯形 13"/>
            <p:cNvSpPr/>
            <p:nvPr/>
          </p:nvSpPr>
          <p:spPr>
            <a:xfrm rot="10800000">
              <a:off x="6947469" y="2758400"/>
              <a:ext cx="1694956" cy="165519"/>
            </a:xfrm>
            <a:prstGeom prst="trapezoid">
              <a:avLst>
                <a:gd name="adj" fmla="val 67593"/>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23">
                <a:defRPr/>
              </a:pPr>
              <a:endParaRPr lang="zh-CN" altLang="en-US" sz="2400"/>
            </a:p>
          </p:txBody>
        </p:sp>
      </p:grpSp>
      <p:sp>
        <p:nvSpPr>
          <p:cNvPr id="15" name="矩形 14"/>
          <p:cNvSpPr/>
          <p:nvPr/>
        </p:nvSpPr>
        <p:spPr>
          <a:xfrm>
            <a:off x="3316045" y="3409078"/>
            <a:ext cx="951279" cy="248209"/>
          </a:xfrm>
          <a:prstGeom prst="rect">
            <a:avLst/>
          </a:prstGeom>
        </p:spPr>
        <p:txBody>
          <a:bodyPr wrap="square">
            <a:spAutoFit/>
          </a:bodyPr>
          <a:lstStyle/>
          <a:p>
            <a:pPr lvl="0"/>
            <a:r>
              <a:rPr lang="zh-CN" altLang="en-US" sz="1013" b="1" dirty="0">
                <a:solidFill>
                  <a:schemeClr val="bg1"/>
                </a:solidFill>
                <a:latin typeface="等线 Light" panose="02010600030101010101" pitchFamily="2" charset="-122"/>
                <a:ea typeface="等线 Light" panose="02010600030101010101" pitchFamily="2" charset="-122"/>
              </a:rPr>
              <a:t>您的内容</a:t>
            </a:r>
          </a:p>
        </p:txBody>
      </p:sp>
      <p:sp>
        <p:nvSpPr>
          <p:cNvPr id="16" name="矩形 15"/>
          <p:cNvSpPr/>
          <p:nvPr/>
        </p:nvSpPr>
        <p:spPr>
          <a:xfrm>
            <a:off x="2782663" y="4092578"/>
            <a:ext cx="1795475" cy="674031"/>
          </a:xfrm>
          <a:prstGeom prst="rect">
            <a:avLst/>
          </a:prstGeom>
        </p:spPr>
        <p:txBody>
          <a:bodyPr wrap="square">
            <a:spAutoFit/>
          </a:bodyPr>
          <a:lstStyle/>
          <a:p>
            <a:pPr>
              <a:lnSpc>
                <a:spcPct val="120000"/>
              </a:lnSpc>
            </a:pPr>
            <a:r>
              <a:rPr lang="zh-CN" altLang="en-US" sz="1050" dirty="0">
                <a:solidFill>
                  <a:schemeClr val="bg1"/>
                </a:solidFill>
                <a:latin typeface="等线 Light" panose="02010600030101010101" pitchFamily="2" charset="-122"/>
                <a:ea typeface="等线 Light" panose="02010600030101010101" pitchFamily="2" charset="-122"/>
              </a:rPr>
              <a:t>右键点击图片，找到“填充形状”图标，然后选择填充图片即可换成您的照片。</a:t>
            </a:r>
          </a:p>
        </p:txBody>
      </p:sp>
      <p:sp>
        <p:nvSpPr>
          <p:cNvPr id="17" name="矩形 16"/>
          <p:cNvSpPr/>
          <p:nvPr/>
        </p:nvSpPr>
        <p:spPr>
          <a:xfrm>
            <a:off x="5892440" y="3409078"/>
            <a:ext cx="837386" cy="248209"/>
          </a:xfrm>
          <a:prstGeom prst="rect">
            <a:avLst/>
          </a:prstGeom>
        </p:spPr>
        <p:txBody>
          <a:bodyPr wrap="square">
            <a:spAutoFit/>
          </a:bodyPr>
          <a:lstStyle/>
          <a:p>
            <a:pPr lvl="0"/>
            <a:r>
              <a:rPr lang="zh-CN" altLang="en-US" sz="1013" b="1" dirty="0">
                <a:solidFill>
                  <a:schemeClr val="bg1"/>
                </a:solidFill>
                <a:latin typeface="等线 Light" panose="02010600030101010101" pitchFamily="2" charset="-122"/>
                <a:ea typeface="等线 Light" panose="02010600030101010101" pitchFamily="2" charset="-122"/>
              </a:rPr>
              <a:t>您的内容</a:t>
            </a:r>
          </a:p>
        </p:txBody>
      </p:sp>
      <p:sp>
        <p:nvSpPr>
          <p:cNvPr id="18" name="矩形 17"/>
          <p:cNvSpPr/>
          <p:nvPr/>
        </p:nvSpPr>
        <p:spPr>
          <a:xfrm>
            <a:off x="5237879" y="4108643"/>
            <a:ext cx="1795475" cy="674031"/>
          </a:xfrm>
          <a:prstGeom prst="rect">
            <a:avLst/>
          </a:prstGeom>
        </p:spPr>
        <p:txBody>
          <a:bodyPr wrap="square">
            <a:spAutoFit/>
          </a:bodyPr>
          <a:lstStyle/>
          <a:p>
            <a:pPr>
              <a:lnSpc>
                <a:spcPct val="120000"/>
              </a:lnSpc>
            </a:pPr>
            <a:r>
              <a:rPr lang="zh-CN" altLang="en-US" sz="1050" dirty="0">
                <a:solidFill>
                  <a:schemeClr val="bg1"/>
                </a:solidFill>
                <a:latin typeface="等线 Light" panose="02010600030101010101" pitchFamily="2" charset="-122"/>
                <a:ea typeface="等线 Light" panose="02010600030101010101" pitchFamily="2" charset="-122"/>
              </a:rPr>
              <a:t>右键点击图片，找到“填充形状”图标，然后选择填充图片即可换成您的照片。</a:t>
            </a:r>
          </a:p>
        </p:txBody>
      </p:sp>
      <p:sp>
        <p:nvSpPr>
          <p:cNvPr id="19" name="矩形 18"/>
          <p:cNvSpPr/>
          <p:nvPr/>
        </p:nvSpPr>
        <p:spPr>
          <a:xfrm>
            <a:off x="8430869" y="3438764"/>
            <a:ext cx="1500368" cy="248209"/>
          </a:xfrm>
          <a:prstGeom prst="rect">
            <a:avLst/>
          </a:prstGeom>
        </p:spPr>
        <p:txBody>
          <a:bodyPr wrap="square">
            <a:spAutoFit/>
          </a:bodyPr>
          <a:lstStyle/>
          <a:p>
            <a:pPr lvl="0"/>
            <a:r>
              <a:rPr lang="zh-CN" altLang="en-US" sz="1013" b="1" dirty="0">
                <a:solidFill>
                  <a:schemeClr val="bg1"/>
                </a:solidFill>
                <a:latin typeface="等线 Light" panose="02010600030101010101" pitchFamily="2" charset="-122"/>
                <a:ea typeface="等线 Light" panose="02010600030101010101" pitchFamily="2" charset="-122"/>
              </a:rPr>
              <a:t>您的内容</a:t>
            </a:r>
          </a:p>
        </p:txBody>
      </p:sp>
      <p:sp>
        <p:nvSpPr>
          <p:cNvPr id="20" name="矩形 19"/>
          <p:cNvSpPr/>
          <p:nvPr/>
        </p:nvSpPr>
        <p:spPr>
          <a:xfrm>
            <a:off x="7794991" y="4097756"/>
            <a:ext cx="1795475" cy="674031"/>
          </a:xfrm>
          <a:prstGeom prst="rect">
            <a:avLst/>
          </a:prstGeom>
        </p:spPr>
        <p:txBody>
          <a:bodyPr wrap="square">
            <a:spAutoFit/>
          </a:bodyPr>
          <a:lstStyle/>
          <a:p>
            <a:pPr>
              <a:lnSpc>
                <a:spcPct val="120000"/>
              </a:lnSpc>
            </a:pPr>
            <a:r>
              <a:rPr lang="zh-CN" altLang="en-US" sz="1050" dirty="0">
                <a:solidFill>
                  <a:schemeClr val="bg1"/>
                </a:solidFill>
                <a:latin typeface="方正粗倩简体"/>
                <a:ea typeface="华文新魏" panose="02010800040101010101" pitchFamily="2" charset="-122"/>
              </a:rPr>
              <a:t>右键点击图片，找到“填充形状”图标，然后选择填充图片即可换成您的照片。</a:t>
            </a:r>
          </a:p>
        </p:txBody>
      </p:sp>
      <p:sp>
        <p:nvSpPr>
          <p:cNvPr id="21" name="Freeform 145"/>
          <p:cNvSpPr>
            <a:spLocks noEditPoints="1"/>
          </p:cNvSpPr>
          <p:nvPr/>
        </p:nvSpPr>
        <p:spPr bwMode="auto">
          <a:xfrm>
            <a:off x="3345396" y="2493976"/>
            <a:ext cx="640339" cy="650820"/>
          </a:xfrm>
          <a:custGeom>
            <a:avLst/>
            <a:gdLst>
              <a:gd name="T0" fmla="*/ 95 w 111"/>
              <a:gd name="T1" fmla="*/ 16 h 111"/>
              <a:gd name="T2" fmla="*/ 95 w 111"/>
              <a:gd name="T3" fmla="*/ 94 h 111"/>
              <a:gd name="T4" fmla="*/ 16 w 111"/>
              <a:gd name="T5" fmla="*/ 94 h 111"/>
              <a:gd name="T6" fmla="*/ 16 w 111"/>
              <a:gd name="T7" fmla="*/ 16 h 111"/>
              <a:gd name="T8" fmla="*/ 51 w 111"/>
              <a:gd name="T9" fmla="*/ 100 h 111"/>
              <a:gd name="T10" fmla="*/ 38 w 111"/>
              <a:gd name="T11" fmla="*/ 85 h 111"/>
              <a:gd name="T12" fmla="*/ 51 w 111"/>
              <a:gd name="T13" fmla="*/ 100 h 111"/>
              <a:gd name="T14" fmla="*/ 51 w 111"/>
              <a:gd name="T15" fmla="*/ 60 h 111"/>
              <a:gd name="T16" fmla="*/ 35 w 111"/>
              <a:gd name="T17" fmla="*/ 75 h 111"/>
              <a:gd name="T18" fmla="*/ 51 w 111"/>
              <a:gd name="T19" fmla="*/ 50 h 111"/>
              <a:gd name="T20" fmla="*/ 35 w 111"/>
              <a:gd name="T21" fmla="*/ 36 h 111"/>
              <a:gd name="T22" fmla="*/ 51 w 111"/>
              <a:gd name="T23" fmla="*/ 50 h 111"/>
              <a:gd name="T24" fmla="*/ 51 w 111"/>
              <a:gd name="T25" fmla="*/ 10 h 111"/>
              <a:gd name="T26" fmla="*/ 38 w 111"/>
              <a:gd name="T27" fmla="*/ 25 h 111"/>
              <a:gd name="T28" fmla="*/ 61 w 111"/>
              <a:gd name="T29" fmla="*/ 10 h 111"/>
              <a:gd name="T30" fmla="*/ 73 w 111"/>
              <a:gd name="T31" fmla="*/ 25 h 111"/>
              <a:gd name="T32" fmla="*/ 61 w 111"/>
              <a:gd name="T33" fmla="*/ 10 h 111"/>
              <a:gd name="T34" fmla="*/ 61 w 111"/>
              <a:gd name="T35" fmla="*/ 50 h 111"/>
              <a:gd name="T36" fmla="*/ 77 w 111"/>
              <a:gd name="T37" fmla="*/ 36 h 111"/>
              <a:gd name="T38" fmla="*/ 61 w 111"/>
              <a:gd name="T39" fmla="*/ 60 h 111"/>
              <a:gd name="T40" fmla="*/ 77 w 111"/>
              <a:gd name="T41" fmla="*/ 75 h 111"/>
              <a:gd name="T42" fmla="*/ 61 w 111"/>
              <a:gd name="T43" fmla="*/ 60 h 111"/>
              <a:gd name="T44" fmla="*/ 61 w 111"/>
              <a:gd name="T45" fmla="*/ 100 h 111"/>
              <a:gd name="T46" fmla="*/ 73 w 111"/>
              <a:gd name="T47" fmla="*/ 85 h 111"/>
              <a:gd name="T48" fmla="*/ 11 w 111"/>
              <a:gd name="T49" fmla="*/ 50 h 111"/>
              <a:gd name="T50" fmla="*/ 24 w 111"/>
              <a:gd name="T51" fmla="*/ 39 h 111"/>
              <a:gd name="T52" fmla="*/ 11 w 111"/>
              <a:gd name="T53" fmla="*/ 50 h 111"/>
              <a:gd name="T54" fmla="*/ 100 w 111"/>
              <a:gd name="T55" fmla="*/ 50 h 111"/>
              <a:gd name="T56" fmla="*/ 87 w 111"/>
              <a:gd name="T57" fmla="*/ 39 h 111"/>
              <a:gd name="T58" fmla="*/ 100 w 111"/>
              <a:gd name="T59" fmla="*/ 60 h 111"/>
              <a:gd name="T60" fmla="*/ 87 w 111"/>
              <a:gd name="T61" fmla="*/ 71 h 111"/>
              <a:gd name="T62" fmla="*/ 100 w 111"/>
              <a:gd name="T63" fmla="*/ 60 h 111"/>
              <a:gd name="T64" fmla="*/ 11 w 111"/>
              <a:gd name="T65" fmla="*/ 60 h 111"/>
              <a:gd name="T66" fmla="*/ 24 w 111"/>
              <a:gd name="T67" fmla="*/ 71 h 111"/>
              <a:gd name="T68" fmla="*/ 96 w 111"/>
              <a:gd name="T69" fmla="*/ 77 h 111"/>
              <a:gd name="T70" fmla="*/ 84 w 111"/>
              <a:gd name="T71" fmla="*/ 82 h 111"/>
              <a:gd name="T72" fmla="*/ 79 w 111"/>
              <a:gd name="T73" fmla="*/ 95 h 111"/>
              <a:gd name="T74" fmla="*/ 96 w 111"/>
              <a:gd name="T75" fmla="*/ 77 h 111"/>
              <a:gd name="T76" fmla="*/ 18 w 111"/>
              <a:gd name="T77" fmla="*/ 78 h 111"/>
              <a:gd name="T78" fmla="*/ 23 w 111"/>
              <a:gd name="T79" fmla="*/ 88 h 111"/>
              <a:gd name="T80" fmla="*/ 32 w 111"/>
              <a:gd name="T81" fmla="*/ 93 h 111"/>
              <a:gd name="T82" fmla="*/ 15 w 111"/>
              <a:gd name="T83" fmla="*/ 33 h 111"/>
              <a:gd name="T84" fmla="*/ 27 w 111"/>
              <a:gd name="T85" fmla="*/ 28 h 111"/>
              <a:gd name="T86" fmla="*/ 33 w 111"/>
              <a:gd name="T87" fmla="*/ 16 h 111"/>
              <a:gd name="T88" fmla="*/ 15 w 111"/>
              <a:gd name="T89" fmla="*/ 33 h 111"/>
              <a:gd name="T90" fmla="*/ 94 w 111"/>
              <a:gd name="T91" fmla="*/ 32 h 111"/>
              <a:gd name="T92" fmla="*/ 88 w 111"/>
              <a:gd name="T93" fmla="*/ 23 h 111"/>
              <a:gd name="T94" fmla="*/ 80 w 111"/>
              <a:gd name="T95" fmla="*/ 1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111">
                <a:moveTo>
                  <a:pt x="56" y="0"/>
                </a:moveTo>
                <a:cubicBezTo>
                  <a:pt x="71" y="0"/>
                  <a:pt x="85" y="6"/>
                  <a:pt x="95" y="16"/>
                </a:cubicBezTo>
                <a:cubicBezTo>
                  <a:pt x="105" y="26"/>
                  <a:pt x="111" y="40"/>
                  <a:pt x="111" y="55"/>
                </a:cubicBezTo>
                <a:cubicBezTo>
                  <a:pt x="111" y="71"/>
                  <a:pt x="105" y="84"/>
                  <a:pt x="95" y="94"/>
                </a:cubicBezTo>
                <a:cubicBezTo>
                  <a:pt x="85" y="104"/>
                  <a:pt x="71" y="111"/>
                  <a:pt x="56" y="111"/>
                </a:cubicBezTo>
                <a:cubicBezTo>
                  <a:pt x="40" y="111"/>
                  <a:pt x="27" y="104"/>
                  <a:pt x="16" y="94"/>
                </a:cubicBezTo>
                <a:cubicBezTo>
                  <a:pt x="6" y="84"/>
                  <a:pt x="0" y="71"/>
                  <a:pt x="0" y="55"/>
                </a:cubicBezTo>
                <a:cubicBezTo>
                  <a:pt x="0" y="40"/>
                  <a:pt x="6" y="26"/>
                  <a:pt x="16" y="16"/>
                </a:cubicBezTo>
                <a:cubicBezTo>
                  <a:pt x="27" y="6"/>
                  <a:pt x="40" y="0"/>
                  <a:pt x="56" y="0"/>
                </a:cubicBezTo>
                <a:close/>
                <a:moveTo>
                  <a:pt x="51" y="100"/>
                </a:moveTo>
                <a:cubicBezTo>
                  <a:pt x="51" y="87"/>
                  <a:pt x="51" y="87"/>
                  <a:pt x="51" y="87"/>
                </a:cubicBezTo>
                <a:cubicBezTo>
                  <a:pt x="47" y="87"/>
                  <a:pt x="42" y="86"/>
                  <a:pt x="38" y="85"/>
                </a:cubicBezTo>
                <a:cubicBezTo>
                  <a:pt x="39" y="87"/>
                  <a:pt x="40" y="88"/>
                  <a:pt x="40" y="89"/>
                </a:cubicBezTo>
                <a:cubicBezTo>
                  <a:pt x="43" y="94"/>
                  <a:pt x="47" y="98"/>
                  <a:pt x="51" y="100"/>
                </a:cubicBezTo>
                <a:close/>
                <a:moveTo>
                  <a:pt x="51" y="77"/>
                </a:moveTo>
                <a:cubicBezTo>
                  <a:pt x="51" y="60"/>
                  <a:pt x="51" y="60"/>
                  <a:pt x="51" y="60"/>
                </a:cubicBezTo>
                <a:cubicBezTo>
                  <a:pt x="33" y="60"/>
                  <a:pt x="33" y="60"/>
                  <a:pt x="33" y="60"/>
                </a:cubicBezTo>
                <a:cubicBezTo>
                  <a:pt x="33" y="65"/>
                  <a:pt x="34" y="70"/>
                  <a:pt x="35" y="75"/>
                </a:cubicBezTo>
                <a:cubicBezTo>
                  <a:pt x="40" y="76"/>
                  <a:pt x="45" y="77"/>
                  <a:pt x="51" y="77"/>
                </a:cubicBezTo>
                <a:close/>
                <a:moveTo>
                  <a:pt x="51" y="50"/>
                </a:moveTo>
                <a:cubicBezTo>
                  <a:pt x="51" y="33"/>
                  <a:pt x="51" y="33"/>
                  <a:pt x="51" y="33"/>
                </a:cubicBezTo>
                <a:cubicBezTo>
                  <a:pt x="45" y="34"/>
                  <a:pt x="40" y="34"/>
                  <a:pt x="35" y="36"/>
                </a:cubicBezTo>
                <a:cubicBezTo>
                  <a:pt x="34" y="40"/>
                  <a:pt x="33" y="45"/>
                  <a:pt x="33" y="50"/>
                </a:cubicBezTo>
                <a:cubicBezTo>
                  <a:pt x="51" y="50"/>
                  <a:pt x="51" y="50"/>
                  <a:pt x="51" y="50"/>
                </a:cubicBezTo>
                <a:close/>
                <a:moveTo>
                  <a:pt x="51" y="24"/>
                </a:moveTo>
                <a:cubicBezTo>
                  <a:pt x="51" y="10"/>
                  <a:pt x="51" y="10"/>
                  <a:pt x="51" y="10"/>
                </a:cubicBezTo>
                <a:cubicBezTo>
                  <a:pt x="47" y="12"/>
                  <a:pt x="43" y="16"/>
                  <a:pt x="40" y="22"/>
                </a:cubicBezTo>
                <a:cubicBezTo>
                  <a:pt x="40" y="23"/>
                  <a:pt x="39" y="24"/>
                  <a:pt x="38" y="25"/>
                </a:cubicBezTo>
                <a:cubicBezTo>
                  <a:pt x="42" y="24"/>
                  <a:pt x="47" y="24"/>
                  <a:pt x="51" y="24"/>
                </a:cubicBezTo>
                <a:close/>
                <a:moveTo>
                  <a:pt x="61" y="10"/>
                </a:moveTo>
                <a:cubicBezTo>
                  <a:pt x="61" y="24"/>
                  <a:pt x="61" y="24"/>
                  <a:pt x="61" y="24"/>
                </a:cubicBezTo>
                <a:cubicBezTo>
                  <a:pt x="65" y="24"/>
                  <a:pt x="69" y="24"/>
                  <a:pt x="73" y="25"/>
                </a:cubicBezTo>
                <a:cubicBezTo>
                  <a:pt x="72" y="24"/>
                  <a:pt x="72" y="23"/>
                  <a:pt x="71" y="22"/>
                </a:cubicBezTo>
                <a:cubicBezTo>
                  <a:pt x="68" y="16"/>
                  <a:pt x="65" y="12"/>
                  <a:pt x="61" y="10"/>
                </a:cubicBezTo>
                <a:close/>
                <a:moveTo>
                  <a:pt x="61" y="33"/>
                </a:moveTo>
                <a:cubicBezTo>
                  <a:pt x="61" y="50"/>
                  <a:pt x="61" y="50"/>
                  <a:pt x="61" y="50"/>
                </a:cubicBezTo>
                <a:cubicBezTo>
                  <a:pt x="79" y="50"/>
                  <a:pt x="79" y="50"/>
                  <a:pt x="79" y="50"/>
                </a:cubicBezTo>
                <a:cubicBezTo>
                  <a:pt x="78" y="45"/>
                  <a:pt x="78" y="40"/>
                  <a:pt x="77" y="36"/>
                </a:cubicBezTo>
                <a:cubicBezTo>
                  <a:pt x="72" y="34"/>
                  <a:pt x="66" y="34"/>
                  <a:pt x="61" y="33"/>
                </a:cubicBezTo>
                <a:close/>
                <a:moveTo>
                  <a:pt x="61" y="60"/>
                </a:moveTo>
                <a:cubicBezTo>
                  <a:pt x="61" y="77"/>
                  <a:pt x="61" y="77"/>
                  <a:pt x="61" y="77"/>
                </a:cubicBezTo>
                <a:cubicBezTo>
                  <a:pt x="66" y="77"/>
                  <a:pt x="72" y="76"/>
                  <a:pt x="77" y="75"/>
                </a:cubicBezTo>
                <a:cubicBezTo>
                  <a:pt x="78" y="70"/>
                  <a:pt x="78" y="65"/>
                  <a:pt x="79" y="60"/>
                </a:cubicBezTo>
                <a:cubicBezTo>
                  <a:pt x="61" y="60"/>
                  <a:pt x="61" y="60"/>
                  <a:pt x="61" y="60"/>
                </a:cubicBezTo>
                <a:close/>
                <a:moveTo>
                  <a:pt x="61" y="87"/>
                </a:moveTo>
                <a:cubicBezTo>
                  <a:pt x="61" y="100"/>
                  <a:pt x="61" y="100"/>
                  <a:pt x="61" y="100"/>
                </a:cubicBezTo>
                <a:cubicBezTo>
                  <a:pt x="65" y="98"/>
                  <a:pt x="68" y="94"/>
                  <a:pt x="71" y="89"/>
                </a:cubicBezTo>
                <a:cubicBezTo>
                  <a:pt x="72" y="88"/>
                  <a:pt x="72" y="87"/>
                  <a:pt x="73" y="85"/>
                </a:cubicBezTo>
                <a:cubicBezTo>
                  <a:pt x="69" y="86"/>
                  <a:pt x="65" y="87"/>
                  <a:pt x="61" y="87"/>
                </a:cubicBezTo>
                <a:close/>
                <a:moveTo>
                  <a:pt x="11" y="50"/>
                </a:moveTo>
                <a:cubicBezTo>
                  <a:pt x="23" y="50"/>
                  <a:pt x="23" y="50"/>
                  <a:pt x="23" y="50"/>
                </a:cubicBezTo>
                <a:cubicBezTo>
                  <a:pt x="23" y="47"/>
                  <a:pt x="24" y="43"/>
                  <a:pt x="24" y="39"/>
                </a:cubicBezTo>
                <a:cubicBezTo>
                  <a:pt x="24" y="40"/>
                  <a:pt x="23" y="40"/>
                  <a:pt x="22" y="40"/>
                </a:cubicBezTo>
                <a:cubicBezTo>
                  <a:pt x="17" y="43"/>
                  <a:pt x="13" y="47"/>
                  <a:pt x="11" y="50"/>
                </a:cubicBezTo>
                <a:close/>
                <a:moveTo>
                  <a:pt x="88" y="50"/>
                </a:moveTo>
                <a:cubicBezTo>
                  <a:pt x="100" y="50"/>
                  <a:pt x="100" y="50"/>
                  <a:pt x="100" y="50"/>
                </a:cubicBezTo>
                <a:cubicBezTo>
                  <a:pt x="99" y="47"/>
                  <a:pt x="95" y="43"/>
                  <a:pt x="89" y="40"/>
                </a:cubicBezTo>
                <a:cubicBezTo>
                  <a:pt x="89" y="40"/>
                  <a:pt x="88" y="40"/>
                  <a:pt x="87" y="39"/>
                </a:cubicBezTo>
                <a:cubicBezTo>
                  <a:pt x="88" y="43"/>
                  <a:pt x="88" y="47"/>
                  <a:pt x="88" y="50"/>
                </a:cubicBezTo>
                <a:close/>
                <a:moveTo>
                  <a:pt x="100" y="60"/>
                </a:moveTo>
                <a:cubicBezTo>
                  <a:pt x="88" y="60"/>
                  <a:pt x="88" y="60"/>
                  <a:pt x="88" y="60"/>
                </a:cubicBezTo>
                <a:cubicBezTo>
                  <a:pt x="88" y="64"/>
                  <a:pt x="88" y="67"/>
                  <a:pt x="87" y="71"/>
                </a:cubicBezTo>
                <a:cubicBezTo>
                  <a:pt x="88" y="71"/>
                  <a:pt x="89" y="70"/>
                  <a:pt x="89" y="70"/>
                </a:cubicBezTo>
                <a:cubicBezTo>
                  <a:pt x="95" y="67"/>
                  <a:pt x="99" y="64"/>
                  <a:pt x="100" y="60"/>
                </a:cubicBezTo>
                <a:close/>
                <a:moveTo>
                  <a:pt x="23" y="60"/>
                </a:moveTo>
                <a:cubicBezTo>
                  <a:pt x="11" y="60"/>
                  <a:pt x="11" y="60"/>
                  <a:pt x="11" y="60"/>
                </a:cubicBezTo>
                <a:cubicBezTo>
                  <a:pt x="13" y="64"/>
                  <a:pt x="17" y="67"/>
                  <a:pt x="22" y="70"/>
                </a:cubicBezTo>
                <a:cubicBezTo>
                  <a:pt x="23" y="70"/>
                  <a:pt x="24" y="71"/>
                  <a:pt x="24" y="71"/>
                </a:cubicBezTo>
                <a:cubicBezTo>
                  <a:pt x="24" y="67"/>
                  <a:pt x="23" y="64"/>
                  <a:pt x="23" y="60"/>
                </a:cubicBezTo>
                <a:close/>
                <a:moveTo>
                  <a:pt x="96" y="77"/>
                </a:moveTo>
                <a:cubicBezTo>
                  <a:pt x="95" y="78"/>
                  <a:pt x="95" y="78"/>
                  <a:pt x="94" y="78"/>
                </a:cubicBezTo>
                <a:cubicBezTo>
                  <a:pt x="91" y="80"/>
                  <a:pt x="88" y="81"/>
                  <a:pt x="84" y="82"/>
                </a:cubicBezTo>
                <a:cubicBezTo>
                  <a:pt x="83" y="86"/>
                  <a:pt x="81" y="90"/>
                  <a:pt x="80" y="93"/>
                </a:cubicBezTo>
                <a:cubicBezTo>
                  <a:pt x="79" y="94"/>
                  <a:pt x="79" y="94"/>
                  <a:pt x="79" y="95"/>
                </a:cubicBezTo>
                <a:cubicBezTo>
                  <a:pt x="82" y="93"/>
                  <a:pt x="85" y="90"/>
                  <a:pt x="88" y="88"/>
                </a:cubicBezTo>
                <a:cubicBezTo>
                  <a:pt x="91" y="85"/>
                  <a:pt x="94" y="81"/>
                  <a:pt x="96" y="77"/>
                </a:cubicBezTo>
                <a:close/>
                <a:moveTo>
                  <a:pt x="27" y="82"/>
                </a:moveTo>
                <a:cubicBezTo>
                  <a:pt x="24" y="81"/>
                  <a:pt x="20" y="80"/>
                  <a:pt x="18" y="78"/>
                </a:cubicBezTo>
                <a:cubicBezTo>
                  <a:pt x="17" y="78"/>
                  <a:pt x="16" y="78"/>
                  <a:pt x="15" y="77"/>
                </a:cubicBezTo>
                <a:cubicBezTo>
                  <a:pt x="18" y="81"/>
                  <a:pt x="20" y="85"/>
                  <a:pt x="23" y="88"/>
                </a:cubicBezTo>
                <a:cubicBezTo>
                  <a:pt x="26" y="90"/>
                  <a:pt x="29" y="93"/>
                  <a:pt x="33" y="95"/>
                </a:cubicBezTo>
                <a:cubicBezTo>
                  <a:pt x="32" y="94"/>
                  <a:pt x="32" y="94"/>
                  <a:pt x="32" y="93"/>
                </a:cubicBezTo>
                <a:cubicBezTo>
                  <a:pt x="30" y="90"/>
                  <a:pt x="28" y="86"/>
                  <a:pt x="27" y="82"/>
                </a:cubicBezTo>
                <a:close/>
                <a:moveTo>
                  <a:pt x="15" y="33"/>
                </a:moveTo>
                <a:cubicBezTo>
                  <a:pt x="16" y="33"/>
                  <a:pt x="17" y="32"/>
                  <a:pt x="18" y="32"/>
                </a:cubicBezTo>
                <a:cubicBezTo>
                  <a:pt x="20" y="30"/>
                  <a:pt x="24" y="29"/>
                  <a:pt x="27" y="28"/>
                </a:cubicBezTo>
                <a:cubicBezTo>
                  <a:pt x="28" y="24"/>
                  <a:pt x="30" y="20"/>
                  <a:pt x="32" y="17"/>
                </a:cubicBezTo>
                <a:cubicBezTo>
                  <a:pt x="32" y="17"/>
                  <a:pt x="32" y="16"/>
                  <a:pt x="33" y="16"/>
                </a:cubicBezTo>
                <a:cubicBezTo>
                  <a:pt x="29" y="18"/>
                  <a:pt x="26" y="20"/>
                  <a:pt x="23" y="23"/>
                </a:cubicBezTo>
                <a:cubicBezTo>
                  <a:pt x="20" y="26"/>
                  <a:pt x="18" y="29"/>
                  <a:pt x="15" y="33"/>
                </a:cubicBezTo>
                <a:close/>
                <a:moveTo>
                  <a:pt x="84" y="28"/>
                </a:moveTo>
                <a:cubicBezTo>
                  <a:pt x="88" y="29"/>
                  <a:pt x="91" y="30"/>
                  <a:pt x="94" y="32"/>
                </a:cubicBezTo>
                <a:cubicBezTo>
                  <a:pt x="95" y="32"/>
                  <a:pt x="95" y="33"/>
                  <a:pt x="96" y="33"/>
                </a:cubicBezTo>
                <a:cubicBezTo>
                  <a:pt x="94" y="29"/>
                  <a:pt x="91" y="26"/>
                  <a:pt x="88" y="23"/>
                </a:cubicBezTo>
                <a:cubicBezTo>
                  <a:pt x="85" y="20"/>
                  <a:pt x="82" y="18"/>
                  <a:pt x="79" y="16"/>
                </a:cubicBezTo>
                <a:cubicBezTo>
                  <a:pt x="79" y="16"/>
                  <a:pt x="79" y="17"/>
                  <a:pt x="80" y="17"/>
                </a:cubicBezTo>
                <a:cubicBezTo>
                  <a:pt x="81" y="20"/>
                  <a:pt x="83" y="24"/>
                  <a:pt x="84" y="2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zh-CN" altLang="en-US" sz="1867">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22" name="Freeform 151"/>
          <p:cNvSpPr>
            <a:spLocks noEditPoints="1"/>
          </p:cNvSpPr>
          <p:nvPr/>
        </p:nvSpPr>
        <p:spPr bwMode="auto">
          <a:xfrm>
            <a:off x="5892440" y="2571518"/>
            <a:ext cx="646053" cy="650820"/>
          </a:xfrm>
          <a:custGeom>
            <a:avLst/>
            <a:gdLst>
              <a:gd name="T0" fmla="*/ 93 w 123"/>
              <a:gd name="T1" fmla="*/ 129 h 129"/>
              <a:gd name="T2" fmla="*/ 62 w 123"/>
              <a:gd name="T3" fmla="*/ 111 h 129"/>
              <a:gd name="T4" fmla="*/ 89 w 123"/>
              <a:gd name="T5" fmla="*/ 84 h 129"/>
              <a:gd name="T6" fmla="*/ 91 w 123"/>
              <a:gd name="T7" fmla="*/ 98 h 129"/>
              <a:gd name="T8" fmla="*/ 111 w 123"/>
              <a:gd name="T9" fmla="*/ 70 h 129"/>
              <a:gd name="T10" fmla="*/ 109 w 123"/>
              <a:gd name="T11" fmla="*/ 62 h 129"/>
              <a:gd name="T12" fmla="*/ 114 w 123"/>
              <a:gd name="T13" fmla="*/ 59 h 129"/>
              <a:gd name="T14" fmla="*/ 122 w 123"/>
              <a:gd name="T15" fmla="*/ 79 h 129"/>
              <a:gd name="T16" fmla="*/ 92 w 123"/>
              <a:gd name="T17" fmla="*/ 118 h 129"/>
              <a:gd name="T18" fmla="*/ 93 w 123"/>
              <a:gd name="T19" fmla="*/ 129 h 129"/>
              <a:gd name="T20" fmla="*/ 0 w 123"/>
              <a:gd name="T21" fmla="*/ 58 h 129"/>
              <a:gd name="T22" fmla="*/ 30 w 123"/>
              <a:gd name="T23" fmla="*/ 38 h 129"/>
              <a:gd name="T24" fmla="*/ 42 w 123"/>
              <a:gd name="T25" fmla="*/ 74 h 129"/>
              <a:gd name="T26" fmla="*/ 29 w 123"/>
              <a:gd name="T27" fmla="*/ 69 h 129"/>
              <a:gd name="T28" fmla="*/ 45 w 123"/>
              <a:gd name="T29" fmla="*/ 99 h 129"/>
              <a:gd name="T30" fmla="*/ 53 w 123"/>
              <a:gd name="T31" fmla="*/ 101 h 129"/>
              <a:gd name="T32" fmla="*/ 53 w 123"/>
              <a:gd name="T33" fmla="*/ 107 h 129"/>
              <a:gd name="T34" fmla="*/ 33 w 123"/>
              <a:gd name="T35" fmla="*/ 105 h 129"/>
              <a:gd name="T36" fmla="*/ 11 w 123"/>
              <a:gd name="T37" fmla="*/ 62 h 129"/>
              <a:gd name="T38" fmla="*/ 0 w 123"/>
              <a:gd name="T39" fmla="*/ 58 h 129"/>
              <a:gd name="T40" fmla="*/ 111 w 123"/>
              <a:gd name="T41" fmla="*/ 9 h 129"/>
              <a:gd name="T42" fmla="*/ 102 w 123"/>
              <a:gd name="T43" fmla="*/ 16 h 129"/>
              <a:gd name="T44" fmla="*/ 54 w 123"/>
              <a:gd name="T45" fmla="*/ 12 h 129"/>
              <a:gd name="T46" fmla="*/ 41 w 123"/>
              <a:gd name="T47" fmla="*/ 28 h 129"/>
              <a:gd name="T48" fmla="*/ 46 w 123"/>
              <a:gd name="T49" fmla="*/ 32 h 129"/>
              <a:gd name="T50" fmla="*/ 52 w 123"/>
              <a:gd name="T51" fmla="*/ 26 h 129"/>
              <a:gd name="T52" fmla="*/ 86 w 123"/>
              <a:gd name="T53" fmla="*/ 28 h 129"/>
              <a:gd name="T54" fmla="*/ 75 w 123"/>
              <a:gd name="T55" fmla="*/ 37 h 129"/>
              <a:gd name="T56" fmla="*/ 112 w 123"/>
              <a:gd name="T57" fmla="*/ 46 h 129"/>
              <a:gd name="T58" fmla="*/ 111 w 123"/>
              <a:gd name="T59"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29">
                <a:moveTo>
                  <a:pt x="93" y="129"/>
                </a:moveTo>
                <a:cubicBezTo>
                  <a:pt x="62" y="111"/>
                  <a:pt x="62" y="111"/>
                  <a:pt x="62" y="111"/>
                </a:cubicBezTo>
                <a:cubicBezTo>
                  <a:pt x="89" y="84"/>
                  <a:pt x="89" y="84"/>
                  <a:pt x="89" y="84"/>
                </a:cubicBezTo>
                <a:cubicBezTo>
                  <a:pt x="91" y="98"/>
                  <a:pt x="91" y="98"/>
                  <a:pt x="91" y="98"/>
                </a:cubicBezTo>
                <a:cubicBezTo>
                  <a:pt x="103" y="95"/>
                  <a:pt x="112" y="83"/>
                  <a:pt x="111" y="70"/>
                </a:cubicBezTo>
                <a:cubicBezTo>
                  <a:pt x="110" y="67"/>
                  <a:pt x="110" y="64"/>
                  <a:pt x="109" y="62"/>
                </a:cubicBezTo>
                <a:cubicBezTo>
                  <a:pt x="114" y="59"/>
                  <a:pt x="114" y="59"/>
                  <a:pt x="114" y="59"/>
                </a:cubicBezTo>
                <a:cubicBezTo>
                  <a:pt x="118" y="65"/>
                  <a:pt x="121" y="71"/>
                  <a:pt x="122" y="79"/>
                </a:cubicBezTo>
                <a:cubicBezTo>
                  <a:pt x="123" y="98"/>
                  <a:pt x="111" y="114"/>
                  <a:pt x="92" y="118"/>
                </a:cubicBezTo>
                <a:cubicBezTo>
                  <a:pt x="93" y="129"/>
                  <a:pt x="93" y="129"/>
                  <a:pt x="93" y="129"/>
                </a:cubicBezTo>
                <a:close/>
                <a:moveTo>
                  <a:pt x="0" y="58"/>
                </a:moveTo>
                <a:cubicBezTo>
                  <a:pt x="30" y="38"/>
                  <a:pt x="30" y="38"/>
                  <a:pt x="30" y="38"/>
                </a:cubicBezTo>
                <a:cubicBezTo>
                  <a:pt x="42" y="74"/>
                  <a:pt x="42" y="74"/>
                  <a:pt x="42" y="74"/>
                </a:cubicBezTo>
                <a:cubicBezTo>
                  <a:pt x="29" y="69"/>
                  <a:pt x="29" y="69"/>
                  <a:pt x="29" y="69"/>
                </a:cubicBezTo>
                <a:cubicBezTo>
                  <a:pt x="26" y="82"/>
                  <a:pt x="33" y="95"/>
                  <a:pt x="45" y="99"/>
                </a:cubicBezTo>
                <a:cubicBezTo>
                  <a:pt x="48" y="100"/>
                  <a:pt x="51" y="101"/>
                  <a:pt x="53" y="101"/>
                </a:cubicBezTo>
                <a:cubicBezTo>
                  <a:pt x="53" y="107"/>
                  <a:pt x="53" y="107"/>
                  <a:pt x="53" y="107"/>
                </a:cubicBezTo>
                <a:cubicBezTo>
                  <a:pt x="47" y="108"/>
                  <a:pt x="39" y="108"/>
                  <a:pt x="33" y="105"/>
                </a:cubicBezTo>
                <a:cubicBezTo>
                  <a:pt x="15" y="99"/>
                  <a:pt x="6" y="80"/>
                  <a:pt x="11" y="62"/>
                </a:cubicBezTo>
                <a:cubicBezTo>
                  <a:pt x="0" y="58"/>
                  <a:pt x="0" y="58"/>
                  <a:pt x="0" y="58"/>
                </a:cubicBezTo>
                <a:close/>
                <a:moveTo>
                  <a:pt x="111" y="9"/>
                </a:moveTo>
                <a:cubicBezTo>
                  <a:pt x="102" y="16"/>
                  <a:pt x="102" y="16"/>
                  <a:pt x="102" y="16"/>
                </a:cubicBezTo>
                <a:cubicBezTo>
                  <a:pt x="90" y="3"/>
                  <a:pt x="69" y="0"/>
                  <a:pt x="54" y="12"/>
                </a:cubicBezTo>
                <a:cubicBezTo>
                  <a:pt x="48" y="16"/>
                  <a:pt x="44" y="22"/>
                  <a:pt x="41" y="28"/>
                </a:cubicBezTo>
                <a:cubicBezTo>
                  <a:pt x="46" y="32"/>
                  <a:pt x="46" y="32"/>
                  <a:pt x="46" y="32"/>
                </a:cubicBezTo>
                <a:cubicBezTo>
                  <a:pt x="48" y="29"/>
                  <a:pt x="49" y="27"/>
                  <a:pt x="52" y="26"/>
                </a:cubicBezTo>
                <a:cubicBezTo>
                  <a:pt x="62" y="18"/>
                  <a:pt x="77" y="19"/>
                  <a:pt x="86" y="28"/>
                </a:cubicBezTo>
                <a:cubicBezTo>
                  <a:pt x="75" y="37"/>
                  <a:pt x="75" y="37"/>
                  <a:pt x="75" y="37"/>
                </a:cubicBezTo>
                <a:cubicBezTo>
                  <a:pt x="112" y="46"/>
                  <a:pt x="112" y="46"/>
                  <a:pt x="112" y="46"/>
                </a:cubicBezTo>
                <a:lnTo>
                  <a:pt x="111" y="9"/>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zh-CN" altLang="en-US" sz="1867">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23" name="Freeform 123"/>
          <p:cNvSpPr>
            <a:spLocks noEditPoints="1"/>
          </p:cNvSpPr>
          <p:nvPr/>
        </p:nvSpPr>
        <p:spPr bwMode="auto">
          <a:xfrm>
            <a:off x="8430869" y="2667761"/>
            <a:ext cx="668834" cy="472877"/>
          </a:xfrm>
          <a:custGeom>
            <a:avLst/>
            <a:gdLst>
              <a:gd name="T0" fmla="*/ 0 w 61"/>
              <a:gd name="T1" fmla="*/ 5 h 40"/>
              <a:gd name="T2" fmla="*/ 0 w 61"/>
              <a:gd name="T3" fmla="*/ 5 h 40"/>
              <a:gd name="T4" fmla="*/ 0 w 61"/>
              <a:gd name="T5" fmla="*/ 35 h 40"/>
              <a:gd name="T6" fmla="*/ 0 w 61"/>
              <a:gd name="T7" fmla="*/ 35 h 40"/>
              <a:gd name="T8" fmla="*/ 16 w 61"/>
              <a:gd name="T9" fmla="*/ 20 h 40"/>
              <a:gd name="T10" fmla="*/ 0 w 61"/>
              <a:gd name="T11" fmla="*/ 5 h 40"/>
              <a:gd name="T12" fmla="*/ 19 w 61"/>
              <a:gd name="T13" fmla="*/ 17 h 40"/>
              <a:gd name="T14" fmla="*/ 22 w 61"/>
              <a:gd name="T15" fmla="*/ 20 h 40"/>
              <a:gd name="T16" fmla="*/ 26 w 61"/>
              <a:gd name="T17" fmla="*/ 23 h 40"/>
              <a:gd name="T18" fmla="*/ 31 w 61"/>
              <a:gd name="T19" fmla="*/ 25 h 40"/>
              <a:gd name="T20" fmla="*/ 36 w 61"/>
              <a:gd name="T21" fmla="*/ 23 h 40"/>
              <a:gd name="T22" fmla="*/ 38 w 61"/>
              <a:gd name="T23" fmla="*/ 21 h 40"/>
              <a:gd name="T24" fmla="*/ 42 w 61"/>
              <a:gd name="T25" fmla="*/ 17 h 40"/>
              <a:gd name="T26" fmla="*/ 58 w 61"/>
              <a:gd name="T27" fmla="*/ 2 h 40"/>
              <a:gd name="T28" fmla="*/ 59 w 61"/>
              <a:gd name="T29" fmla="*/ 0 h 40"/>
              <a:gd name="T30" fmla="*/ 2 w 61"/>
              <a:gd name="T31" fmla="*/ 0 h 40"/>
              <a:gd name="T32" fmla="*/ 3 w 61"/>
              <a:gd name="T33" fmla="*/ 1 h 40"/>
              <a:gd name="T34" fmla="*/ 19 w 61"/>
              <a:gd name="T35" fmla="*/ 17 h 40"/>
              <a:gd name="T36" fmla="*/ 42 w 61"/>
              <a:gd name="T37" fmla="*/ 24 h 40"/>
              <a:gd name="T38" fmla="*/ 38 w 61"/>
              <a:gd name="T39" fmla="*/ 27 h 40"/>
              <a:gd name="T40" fmla="*/ 31 w 61"/>
              <a:gd name="T41" fmla="*/ 30 h 40"/>
              <a:gd name="T42" fmla="*/ 23 w 61"/>
              <a:gd name="T43" fmla="*/ 27 h 40"/>
              <a:gd name="T44" fmla="*/ 19 w 61"/>
              <a:gd name="T45" fmla="*/ 23 h 40"/>
              <a:gd name="T46" fmla="*/ 3 w 61"/>
              <a:gd name="T47" fmla="*/ 39 h 40"/>
              <a:gd name="T48" fmla="*/ 2 w 61"/>
              <a:gd name="T49" fmla="*/ 40 h 40"/>
              <a:gd name="T50" fmla="*/ 59 w 61"/>
              <a:gd name="T51" fmla="*/ 40 h 40"/>
              <a:gd name="T52" fmla="*/ 58 w 61"/>
              <a:gd name="T53" fmla="*/ 39 h 40"/>
              <a:gd name="T54" fmla="*/ 42 w 61"/>
              <a:gd name="T55" fmla="*/ 24 h 40"/>
              <a:gd name="T56" fmla="*/ 60 w 61"/>
              <a:gd name="T57" fmla="*/ 6 h 40"/>
              <a:gd name="T58" fmla="*/ 45 w 61"/>
              <a:gd name="T59" fmla="*/ 21 h 40"/>
              <a:gd name="T60" fmla="*/ 60 w 61"/>
              <a:gd name="T61" fmla="*/ 36 h 40"/>
              <a:gd name="T62" fmla="*/ 61 w 61"/>
              <a:gd name="T63" fmla="*/ 36 h 40"/>
              <a:gd name="T64" fmla="*/ 61 w 61"/>
              <a:gd name="T65" fmla="*/ 5 h 40"/>
              <a:gd name="T66" fmla="*/ 60 w 61"/>
              <a:gd name="T6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40">
                <a:moveTo>
                  <a:pt x="0" y="5"/>
                </a:moveTo>
                <a:cubicBezTo>
                  <a:pt x="0" y="5"/>
                  <a:pt x="0" y="5"/>
                  <a:pt x="0" y="5"/>
                </a:cubicBezTo>
                <a:cubicBezTo>
                  <a:pt x="0" y="35"/>
                  <a:pt x="0" y="35"/>
                  <a:pt x="0" y="35"/>
                </a:cubicBezTo>
                <a:cubicBezTo>
                  <a:pt x="0" y="35"/>
                  <a:pt x="0" y="35"/>
                  <a:pt x="0" y="35"/>
                </a:cubicBezTo>
                <a:cubicBezTo>
                  <a:pt x="16" y="20"/>
                  <a:pt x="16" y="20"/>
                  <a:pt x="16" y="20"/>
                </a:cubicBezTo>
                <a:lnTo>
                  <a:pt x="0" y="5"/>
                </a:lnTo>
                <a:close/>
                <a:moveTo>
                  <a:pt x="19" y="17"/>
                </a:moveTo>
                <a:cubicBezTo>
                  <a:pt x="22" y="20"/>
                  <a:pt x="22" y="20"/>
                  <a:pt x="22" y="20"/>
                </a:cubicBezTo>
                <a:cubicBezTo>
                  <a:pt x="26" y="23"/>
                  <a:pt x="26" y="23"/>
                  <a:pt x="26" y="23"/>
                </a:cubicBezTo>
                <a:cubicBezTo>
                  <a:pt x="27" y="24"/>
                  <a:pt x="29" y="25"/>
                  <a:pt x="31" y="25"/>
                </a:cubicBezTo>
                <a:cubicBezTo>
                  <a:pt x="32" y="25"/>
                  <a:pt x="34" y="24"/>
                  <a:pt x="36" y="23"/>
                </a:cubicBezTo>
                <a:cubicBezTo>
                  <a:pt x="38" y="21"/>
                  <a:pt x="38" y="21"/>
                  <a:pt x="38" y="21"/>
                </a:cubicBezTo>
                <a:cubicBezTo>
                  <a:pt x="42" y="17"/>
                  <a:pt x="42" y="17"/>
                  <a:pt x="42" y="17"/>
                </a:cubicBezTo>
                <a:cubicBezTo>
                  <a:pt x="58" y="2"/>
                  <a:pt x="58" y="2"/>
                  <a:pt x="58" y="2"/>
                </a:cubicBezTo>
                <a:cubicBezTo>
                  <a:pt x="58" y="1"/>
                  <a:pt x="59" y="1"/>
                  <a:pt x="59" y="0"/>
                </a:cubicBezTo>
                <a:cubicBezTo>
                  <a:pt x="2" y="0"/>
                  <a:pt x="2" y="0"/>
                  <a:pt x="2" y="0"/>
                </a:cubicBezTo>
                <a:cubicBezTo>
                  <a:pt x="2" y="1"/>
                  <a:pt x="3" y="1"/>
                  <a:pt x="3" y="1"/>
                </a:cubicBezTo>
                <a:lnTo>
                  <a:pt x="19" y="17"/>
                </a:lnTo>
                <a:close/>
                <a:moveTo>
                  <a:pt x="42" y="24"/>
                </a:moveTo>
                <a:cubicBezTo>
                  <a:pt x="38" y="27"/>
                  <a:pt x="38" y="27"/>
                  <a:pt x="38" y="27"/>
                </a:cubicBezTo>
                <a:cubicBezTo>
                  <a:pt x="36" y="29"/>
                  <a:pt x="33" y="30"/>
                  <a:pt x="31" y="30"/>
                </a:cubicBezTo>
                <a:cubicBezTo>
                  <a:pt x="28" y="30"/>
                  <a:pt x="25" y="29"/>
                  <a:pt x="23" y="27"/>
                </a:cubicBezTo>
                <a:cubicBezTo>
                  <a:pt x="19" y="23"/>
                  <a:pt x="19" y="23"/>
                  <a:pt x="19" y="23"/>
                </a:cubicBezTo>
                <a:cubicBezTo>
                  <a:pt x="3" y="39"/>
                  <a:pt x="3" y="39"/>
                  <a:pt x="3" y="39"/>
                </a:cubicBezTo>
                <a:cubicBezTo>
                  <a:pt x="2" y="39"/>
                  <a:pt x="2" y="40"/>
                  <a:pt x="2" y="40"/>
                </a:cubicBezTo>
                <a:cubicBezTo>
                  <a:pt x="59" y="40"/>
                  <a:pt x="59" y="40"/>
                  <a:pt x="59" y="40"/>
                </a:cubicBezTo>
                <a:cubicBezTo>
                  <a:pt x="58" y="40"/>
                  <a:pt x="58" y="40"/>
                  <a:pt x="58" y="39"/>
                </a:cubicBezTo>
                <a:lnTo>
                  <a:pt x="42" y="24"/>
                </a:lnTo>
                <a:close/>
                <a:moveTo>
                  <a:pt x="60" y="6"/>
                </a:moveTo>
                <a:cubicBezTo>
                  <a:pt x="45" y="21"/>
                  <a:pt x="45" y="21"/>
                  <a:pt x="45" y="21"/>
                </a:cubicBezTo>
                <a:cubicBezTo>
                  <a:pt x="60" y="36"/>
                  <a:pt x="60" y="36"/>
                  <a:pt x="60" y="36"/>
                </a:cubicBezTo>
                <a:cubicBezTo>
                  <a:pt x="60" y="36"/>
                  <a:pt x="60" y="36"/>
                  <a:pt x="61" y="36"/>
                </a:cubicBezTo>
                <a:cubicBezTo>
                  <a:pt x="61" y="5"/>
                  <a:pt x="61" y="5"/>
                  <a:pt x="61" y="5"/>
                </a:cubicBezTo>
                <a:cubicBezTo>
                  <a:pt x="60" y="5"/>
                  <a:pt x="60" y="5"/>
                  <a:pt x="60" y="6"/>
                </a:cubicBezTo>
                <a:close/>
              </a:path>
            </a:pathLst>
          </a:custGeom>
          <a:solidFill>
            <a:schemeClr val="bg1">
              <a:lumMod val="95000"/>
            </a:schemeClr>
          </a:solidFill>
          <a:ln>
            <a:noFill/>
          </a:ln>
          <a:extLst/>
        </p:spPr>
        <p:txBody>
          <a:bodyPr vert="horz" wrap="square" lIns="68573" tIns="34287" rIns="68573" bIns="34287" numCol="1" anchor="t" anchorCtr="0" compatLnSpc="1">
            <a:prstTxWarp prst="textNoShape">
              <a:avLst/>
            </a:prstTxWarp>
          </a:bodyPr>
          <a:lstStyle/>
          <a:p>
            <a:endParaRPr lang="zh-CN" altLang="en-US" sz="1867" dirty="0"/>
          </a:p>
        </p:txBody>
      </p:sp>
      <p:sp>
        <p:nvSpPr>
          <p:cNvPr id="24" name="Text Box 18"/>
          <p:cNvSpPr txBox="1">
            <a:spLocks noChangeArrowheads="1"/>
          </p:cNvSpPr>
          <p:nvPr/>
        </p:nvSpPr>
        <p:spPr bwMode="gray">
          <a:xfrm>
            <a:off x="5310460" y="562829"/>
            <a:ext cx="1584175"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2500" b="1" dirty="0">
                <a:solidFill>
                  <a:schemeClr val="bg1"/>
                </a:solidFill>
                <a:latin typeface="等线 Light" panose="02010600030101010101" pitchFamily="2" charset="-122"/>
                <a:ea typeface="等线 Light" panose="02010600030101010101" pitchFamily="2" charset="-122"/>
              </a:rPr>
              <a:t>标题内容</a:t>
            </a:r>
          </a:p>
        </p:txBody>
      </p:sp>
      <p:cxnSp>
        <p:nvCxnSpPr>
          <p:cNvPr id="25" name="直接连接符​​ 14"/>
          <p:cNvCxnSpPr>
            <a:cxnSpLocks/>
          </p:cNvCxnSpPr>
          <p:nvPr/>
        </p:nvCxnSpPr>
        <p:spPr>
          <a:xfrm>
            <a:off x="12817"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6" name="直接连接符​​ 14"/>
          <p:cNvCxnSpPr>
            <a:cxnSpLocks/>
          </p:cNvCxnSpPr>
          <p:nvPr/>
        </p:nvCxnSpPr>
        <p:spPr>
          <a:xfrm>
            <a:off x="7680453" y="745755"/>
            <a:ext cx="452436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28" name="音频 2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4283405944"/>
      </p:ext>
    </p:extLst>
  </p:cSld>
  <p:clrMapOvr>
    <a:masterClrMapping/>
  </p:clrMapOvr>
  <mc:AlternateContent xmlns:mc="http://schemas.openxmlformats.org/markup-compatibility/2006" xmlns:p14="http://schemas.microsoft.com/office/powerpoint/2010/main">
    <mc:Choice Requires="p14">
      <p:transition spd="slow" p14:dur="1200" advTm="1112">
        <p:dissolve/>
      </p:transition>
    </mc:Choice>
    <mc:Fallback xmlns="">
      <p:transition spd="slow" advTm="1112">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8"/>
                                        </p:tgtEl>
                                      </p:cBhvr>
                                    </p:cmd>
                                  </p:childTnLst>
                                </p:cTn>
                              </p:par>
                            </p:childTnLst>
                          </p:cTn>
                        </p:par>
                        <p:par>
                          <p:cTn id="7" fill="hold">
                            <p:stCondLst>
                              <p:cond delay="0"/>
                            </p:stCondLst>
                            <p:childTnLst>
                              <p:par>
                                <p:cTn id="8" presetID="14" presetClass="entr" presetSubtype="10" fill="hold"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randombar(horizontal)">
                                      <p:cBhvr>
                                        <p:cTn id="10" dur="500"/>
                                        <p:tgtEl>
                                          <p:spTgt spid="2"/>
                                        </p:tgtEl>
                                      </p:cBhvr>
                                    </p:animEffect>
                                  </p:childTnLst>
                                </p:cTn>
                              </p:par>
                            </p:childTnLst>
                          </p:cTn>
                        </p:par>
                        <p:par>
                          <p:cTn id="11" fill="hold">
                            <p:stCondLst>
                              <p:cond delay="500"/>
                            </p:stCondLst>
                            <p:childTnLst>
                              <p:par>
                                <p:cTn id="12" presetID="2" presetClass="entr" presetSubtype="2"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49" presetClass="entr" presetSubtype="0" decel="10000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p:cTn id="19" dur="500" fill="hold"/>
                                        <p:tgtEl>
                                          <p:spTgt spid="21"/>
                                        </p:tgtEl>
                                        <p:attrNameLst>
                                          <p:attrName>ppt_w</p:attrName>
                                        </p:attrNameLst>
                                      </p:cBhvr>
                                      <p:tavLst>
                                        <p:tav tm="0">
                                          <p:val>
                                            <p:fltVal val="0"/>
                                          </p:val>
                                        </p:tav>
                                        <p:tav tm="100000">
                                          <p:val>
                                            <p:strVal val="#ppt_w"/>
                                          </p:val>
                                        </p:tav>
                                      </p:tavLst>
                                    </p:anim>
                                    <p:anim calcmode="lin" valueType="num">
                                      <p:cBhvr>
                                        <p:cTn id="20" dur="500" fill="hold"/>
                                        <p:tgtEl>
                                          <p:spTgt spid="21"/>
                                        </p:tgtEl>
                                        <p:attrNameLst>
                                          <p:attrName>ppt_h</p:attrName>
                                        </p:attrNameLst>
                                      </p:cBhvr>
                                      <p:tavLst>
                                        <p:tav tm="0">
                                          <p:val>
                                            <p:fltVal val="0"/>
                                          </p:val>
                                        </p:tav>
                                        <p:tav tm="100000">
                                          <p:val>
                                            <p:strVal val="#ppt_h"/>
                                          </p:val>
                                        </p:tav>
                                      </p:tavLst>
                                    </p:anim>
                                    <p:anim calcmode="lin" valueType="num">
                                      <p:cBhvr>
                                        <p:cTn id="21" dur="500" fill="hold"/>
                                        <p:tgtEl>
                                          <p:spTgt spid="21"/>
                                        </p:tgtEl>
                                        <p:attrNameLst>
                                          <p:attrName>style.rotation</p:attrName>
                                        </p:attrNameLst>
                                      </p:cBhvr>
                                      <p:tavLst>
                                        <p:tav tm="0">
                                          <p:val>
                                            <p:fltVal val="360"/>
                                          </p:val>
                                        </p:tav>
                                        <p:tav tm="100000">
                                          <p:val>
                                            <p:fltVal val="0"/>
                                          </p:val>
                                        </p:tav>
                                      </p:tavLst>
                                    </p:anim>
                                    <p:animEffect transition="in" filter="fade">
                                      <p:cBhvr>
                                        <p:cTn id="22" dur="500"/>
                                        <p:tgtEl>
                                          <p:spTgt spid="21"/>
                                        </p:tgtEl>
                                      </p:cBhvr>
                                    </p:animEffect>
                                  </p:childTnLst>
                                </p:cTn>
                              </p:par>
                            </p:childTnLst>
                          </p:cTn>
                        </p:par>
                        <p:par>
                          <p:cTn id="23" fill="hold">
                            <p:stCondLst>
                              <p:cond delay="1500"/>
                            </p:stCondLst>
                            <p:childTnLst>
                              <p:par>
                                <p:cTn id="24" presetID="23" presetClass="entr" presetSubtype="16" fill="hold" grpId="0" nodeType="afterEffect">
                                  <p:stCondLst>
                                    <p:cond delay="0"/>
                                  </p:stCondLst>
                                  <p:iterate type="lt">
                                    <p:tmPct val="10000"/>
                                  </p:iterate>
                                  <p:childTnLst>
                                    <p:set>
                                      <p:cBhvr>
                                        <p:cTn id="25" dur="1" fill="hold">
                                          <p:stCondLst>
                                            <p:cond delay="0"/>
                                          </p:stCondLst>
                                        </p:cTn>
                                        <p:tgtEl>
                                          <p:spTgt spid="15"/>
                                        </p:tgtEl>
                                        <p:attrNameLst>
                                          <p:attrName>style.visibility</p:attrName>
                                        </p:attrNameLst>
                                      </p:cBhvr>
                                      <p:to>
                                        <p:strVal val="visible"/>
                                      </p:to>
                                    </p:set>
                                    <p:anim calcmode="lin" valueType="num">
                                      <p:cBhvr>
                                        <p:cTn id="26" dur="250" fill="hold"/>
                                        <p:tgtEl>
                                          <p:spTgt spid="15"/>
                                        </p:tgtEl>
                                        <p:attrNameLst>
                                          <p:attrName>ppt_w</p:attrName>
                                        </p:attrNameLst>
                                      </p:cBhvr>
                                      <p:tavLst>
                                        <p:tav tm="0">
                                          <p:val>
                                            <p:fltVal val="0"/>
                                          </p:val>
                                        </p:tav>
                                        <p:tav tm="100000">
                                          <p:val>
                                            <p:strVal val="#ppt_w"/>
                                          </p:val>
                                        </p:tav>
                                      </p:tavLst>
                                    </p:anim>
                                    <p:anim calcmode="lin" valueType="num">
                                      <p:cBhvr>
                                        <p:cTn id="27" dur="250" fill="hold"/>
                                        <p:tgtEl>
                                          <p:spTgt spid="15"/>
                                        </p:tgtEl>
                                        <p:attrNameLst>
                                          <p:attrName>ppt_h</p:attrName>
                                        </p:attrNameLst>
                                      </p:cBhvr>
                                      <p:tavLst>
                                        <p:tav tm="0">
                                          <p:val>
                                            <p:fltVal val="0"/>
                                          </p:val>
                                        </p:tav>
                                        <p:tav tm="100000">
                                          <p:val>
                                            <p:strVal val="#ppt_h"/>
                                          </p:val>
                                        </p:tav>
                                      </p:tavLst>
                                    </p:anim>
                                  </p:childTnLst>
                                </p:cTn>
                              </p:par>
                            </p:childTnLst>
                          </p:cTn>
                        </p:par>
                        <p:par>
                          <p:cTn id="28" fill="hold">
                            <p:stCondLst>
                              <p:cond delay="1825"/>
                            </p:stCondLst>
                            <p:childTnLst>
                              <p:par>
                                <p:cTn id="29" presetID="14" presetClass="entr" presetSubtype="1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randombar(horizontal)">
                                      <p:cBhvr>
                                        <p:cTn id="31" dur="250"/>
                                        <p:tgtEl>
                                          <p:spTgt spid="16"/>
                                        </p:tgtEl>
                                      </p:cBhvr>
                                    </p:animEffect>
                                  </p:childTnLst>
                                </p:cTn>
                              </p:par>
                            </p:childTnLst>
                          </p:cTn>
                        </p:par>
                        <p:par>
                          <p:cTn id="32" fill="hold">
                            <p:stCondLst>
                              <p:cond delay="2075"/>
                            </p:stCondLst>
                            <p:childTnLst>
                              <p:par>
                                <p:cTn id="33" presetID="2" presetClass="entr" presetSubtype="2"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500" fill="hold"/>
                                        <p:tgtEl>
                                          <p:spTgt spid="7"/>
                                        </p:tgtEl>
                                        <p:attrNameLst>
                                          <p:attrName>ppt_x</p:attrName>
                                        </p:attrNameLst>
                                      </p:cBhvr>
                                      <p:tavLst>
                                        <p:tav tm="0">
                                          <p:val>
                                            <p:strVal val="1+#ppt_w/2"/>
                                          </p:val>
                                        </p:tav>
                                        <p:tav tm="100000">
                                          <p:val>
                                            <p:strVal val="#ppt_x"/>
                                          </p:val>
                                        </p:tav>
                                      </p:tavLst>
                                    </p:anim>
                                    <p:anim calcmode="lin" valueType="num">
                                      <p:cBhvr additive="base">
                                        <p:cTn id="36" dur="500" fill="hold"/>
                                        <p:tgtEl>
                                          <p:spTgt spid="7"/>
                                        </p:tgtEl>
                                        <p:attrNameLst>
                                          <p:attrName>ppt_y</p:attrName>
                                        </p:attrNameLst>
                                      </p:cBhvr>
                                      <p:tavLst>
                                        <p:tav tm="0">
                                          <p:val>
                                            <p:strVal val="#ppt_y"/>
                                          </p:val>
                                        </p:tav>
                                        <p:tav tm="100000">
                                          <p:val>
                                            <p:strVal val="#ppt_y"/>
                                          </p:val>
                                        </p:tav>
                                      </p:tavLst>
                                    </p:anim>
                                  </p:childTnLst>
                                </p:cTn>
                              </p:par>
                            </p:childTnLst>
                          </p:cTn>
                        </p:par>
                        <p:par>
                          <p:cTn id="37" fill="hold">
                            <p:stCondLst>
                              <p:cond delay="2575"/>
                            </p:stCondLst>
                            <p:childTnLst>
                              <p:par>
                                <p:cTn id="38" presetID="49" presetClass="entr" presetSubtype="0" decel="100000" fill="hold" grpId="0" nodeType="afterEffect">
                                  <p:stCondLst>
                                    <p:cond delay="0"/>
                                  </p:stCondLst>
                                  <p:childTnLst>
                                    <p:set>
                                      <p:cBhvr>
                                        <p:cTn id="39" dur="1" fill="hold">
                                          <p:stCondLst>
                                            <p:cond delay="0"/>
                                          </p:stCondLst>
                                        </p:cTn>
                                        <p:tgtEl>
                                          <p:spTgt spid="22"/>
                                        </p:tgtEl>
                                        <p:attrNameLst>
                                          <p:attrName>style.visibility</p:attrName>
                                        </p:attrNameLst>
                                      </p:cBhvr>
                                      <p:to>
                                        <p:strVal val="visible"/>
                                      </p:to>
                                    </p:set>
                                    <p:anim calcmode="lin" valueType="num">
                                      <p:cBhvr>
                                        <p:cTn id="40" dur="500" fill="hold"/>
                                        <p:tgtEl>
                                          <p:spTgt spid="22"/>
                                        </p:tgtEl>
                                        <p:attrNameLst>
                                          <p:attrName>ppt_w</p:attrName>
                                        </p:attrNameLst>
                                      </p:cBhvr>
                                      <p:tavLst>
                                        <p:tav tm="0">
                                          <p:val>
                                            <p:fltVal val="0"/>
                                          </p:val>
                                        </p:tav>
                                        <p:tav tm="100000">
                                          <p:val>
                                            <p:strVal val="#ppt_w"/>
                                          </p:val>
                                        </p:tav>
                                      </p:tavLst>
                                    </p:anim>
                                    <p:anim calcmode="lin" valueType="num">
                                      <p:cBhvr>
                                        <p:cTn id="41" dur="500" fill="hold"/>
                                        <p:tgtEl>
                                          <p:spTgt spid="22"/>
                                        </p:tgtEl>
                                        <p:attrNameLst>
                                          <p:attrName>ppt_h</p:attrName>
                                        </p:attrNameLst>
                                      </p:cBhvr>
                                      <p:tavLst>
                                        <p:tav tm="0">
                                          <p:val>
                                            <p:fltVal val="0"/>
                                          </p:val>
                                        </p:tav>
                                        <p:tav tm="100000">
                                          <p:val>
                                            <p:strVal val="#ppt_h"/>
                                          </p:val>
                                        </p:tav>
                                      </p:tavLst>
                                    </p:anim>
                                    <p:anim calcmode="lin" valueType="num">
                                      <p:cBhvr>
                                        <p:cTn id="42" dur="500" fill="hold"/>
                                        <p:tgtEl>
                                          <p:spTgt spid="22"/>
                                        </p:tgtEl>
                                        <p:attrNameLst>
                                          <p:attrName>style.rotation</p:attrName>
                                        </p:attrNameLst>
                                      </p:cBhvr>
                                      <p:tavLst>
                                        <p:tav tm="0">
                                          <p:val>
                                            <p:fltVal val="360"/>
                                          </p:val>
                                        </p:tav>
                                        <p:tav tm="100000">
                                          <p:val>
                                            <p:fltVal val="0"/>
                                          </p:val>
                                        </p:tav>
                                      </p:tavLst>
                                    </p:anim>
                                    <p:animEffect transition="in" filter="fade">
                                      <p:cBhvr>
                                        <p:cTn id="43" dur="500"/>
                                        <p:tgtEl>
                                          <p:spTgt spid="22"/>
                                        </p:tgtEl>
                                      </p:cBhvr>
                                    </p:animEffect>
                                  </p:childTnLst>
                                </p:cTn>
                              </p:par>
                            </p:childTnLst>
                          </p:cTn>
                        </p:par>
                        <p:par>
                          <p:cTn id="44" fill="hold">
                            <p:stCondLst>
                              <p:cond delay="3075"/>
                            </p:stCondLst>
                            <p:childTnLst>
                              <p:par>
                                <p:cTn id="45" presetID="23" presetClass="entr" presetSubtype="16" fill="hold" grpId="0" nodeType="afterEffect">
                                  <p:stCondLst>
                                    <p:cond delay="0"/>
                                  </p:stCondLst>
                                  <p:iterate type="lt">
                                    <p:tmPct val="10000"/>
                                  </p:iterate>
                                  <p:childTnLst>
                                    <p:set>
                                      <p:cBhvr>
                                        <p:cTn id="46" dur="1" fill="hold">
                                          <p:stCondLst>
                                            <p:cond delay="0"/>
                                          </p:stCondLst>
                                        </p:cTn>
                                        <p:tgtEl>
                                          <p:spTgt spid="17"/>
                                        </p:tgtEl>
                                        <p:attrNameLst>
                                          <p:attrName>style.visibility</p:attrName>
                                        </p:attrNameLst>
                                      </p:cBhvr>
                                      <p:to>
                                        <p:strVal val="visible"/>
                                      </p:to>
                                    </p:set>
                                    <p:anim calcmode="lin" valueType="num">
                                      <p:cBhvr>
                                        <p:cTn id="47" dur="250" fill="hold"/>
                                        <p:tgtEl>
                                          <p:spTgt spid="17"/>
                                        </p:tgtEl>
                                        <p:attrNameLst>
                                          <p:attrName>ppt_w</p:attrName>
                                        </p:attrNameLst>
                                      </p:cBhvr>
                                      <p:tavLst>
                                        <p:tav tm="0">
                                          <p:val>
                                            <p:fltVal val="0"/>
                                          </p:val>
                                        </p:tav>
                                        <p:tav tm="100000">
                                          <p:val>
                                            <p:strVal val="#ppt_w"/>
                                          </p:val>
                                        </p:tav>
                                      </p:tavLst>
                                    </p:anim>
                                    <p:anim calcmode="lin" valueType="num">
                                      <p:cBhvr>
                                        <p:cTn id="48" dur="250" fill="hold"/>
                                        <p:tgtEl>
                                          <p:spTgt spid="17"/>
                                        </p:tgtEl>
                                        <p:attrNameLst>
                                          <p:attrName>ppt_h</p:attrName>
                                        </p:attrNameLst>
                                      </p:cBhvr>
                                      <p:tavLst>
                                        <p:tav tm="0">
                                          <p:val>
                                            <p:fltVal val="0"/>
                                          </p:val>
                                        </p:tav>
                                        <p:tav tm="100000">
                                          <p:val>
                                            <p:strVal val="#ppt_h"/>
                                          </p:val>
                                        </p:tav>
                                      </p:tavLst>
                                    </p:anim>
                                  </p:childTnLst>
                                </p:cTn>
                              </p:par>
                            </p:childTnLst>
                          </p:cTn>
                        </p:par>
                        <p:par>
                          <p:cTn id="49" fill="hold">
                            <p:stCondLst>
                              <p:cond delay="3400"/>
                            </p:stCondLst>
                            <p:childTnLst>
                              <p:par>
                                <p:cTn id="50" presetID="14" presetClass="entr" presetSubtype="10" fill="hold" grpId="0" nodeType="after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randombar(horizontal)">
                                      <p:cBhvr>
                                        <p:cTn id="52" dur="250"/>
                                        <p:tgtEl>
                                          <p:spTgt spid="18"/>
                                        </p:tgtEl>
                                      </p:cBhvr>
                                    </p:animEffect>
                                  </p:childTnLst>
                                </p:cTn>
                              </p:par>
                            </p:childTnLst>
                          </p:cTn>
                        </p:par>
                        <p:par>
                          <p:cTn id="53" fill="hold">
                            <p:stCondLst>
                              <p:cond delay="3650"/>
                            </p:stCondLst>
                            <p:childTnLst>
                              <p:par>
                                <p:cTn id="54" presetID="2" presetClass="entr" presetSubtype="2" fill="hold" nodeType="afterEffect">
                                  <p:stCondLst>
                                    <p:cond delay="0"/>
                                  </p:stCondLst>
                                  <p:childTnLst>
                                    <p:set>
                                      <p:cBhvr>
                                        <p:cTn id="55" dur="1" fill="hold">
                                          <p:stCondLst>
                                            <p:cond delay="0"/>
                                          </p:stCondLst>
                                        </p:cTn>
                                        <p:tgtEl>
                                          <p:spTgt spid="11"/>
                                        </p:tgtEl>
                                        <p:attrNameLst>
                                          <p:attrName>style.visibility</p:attrName>
                                        </p:attrNameLst>
                                      </p:cBhvr>
                                      <p:to>
                                        <p:strVal val="visible"/>
                                      </p:to>
                                    </p:set>
                                    <p:anim calcmode="lin" valueType="num">
                                      <p:cBhvr additive="base">
                                        <p:cTn id="56" dur="500" fill="hold"/>
                                        <p:tgtEl>
                                          <p:spTgt spid="11"/>
                                        </p:tgtEl>
                                        <p:attrNameLst>
                                          <p:attrName>ppt_x</p:attrName>
                                        </p:attrNameLst>
                                      </p:cBhvr>
                                      <p:tavLst>
                                        <p:tav tm="0">
                                          <p:val>
                                            <p:strVal val="1+#ppt_w/2"/>
                                          </p:val>
                                        </p:tav>
                                        <p:tav tm="100000">
                                          <p:val>
                                            <p:strVal val="#ppt_x"/>
                                          </p:val>
                                        </p:tav>
                                      </p:tavLst>
                                    </p:anim>
                                    <p:anim calcmode="lin" valueType="num">
                                      <p:cBhvr additive="base">
                                        <p:cTn id="57" dur="500" fill="hold"/>
                                        <p:tgtEl>
                                          <p:spTgt spid="11"/>
                                        </p:tgtEl>
                                        <p:attrNameLst>
                                          <p:attrName>ppt_y</p:attrName>
                                        </p:attrNameLst>
                                      </p:cBhvr>
                                      <p:tavLst>
                                        <p:tav tm="0">
                                          <p:val>
                                            <p:strVal val="#ppt_y"/>
                                          </p:val>
                                        </p:tav>
                                        <p:tav tm="100000">
                                          <p:val>
                                            <p:strVal val="#ppt_y"/>
                                          </p:val>
                                        </p:tav>
                                      </p:tavLst>
                                    </p:anim>
                                  </p:childTnLst>
                                </p:cTn>
                              </p:par>
                            </p:childTnLst>
                          </p:cTn>
                        </p:par>
                        <p:par>
                          <p:cTn id="58" fill="hold">
                            <p:stCondLst>
                              <p:cond delay="4150"/>
                            </p:stCondLst>
                            <p:childTnLst>
                              <p:par>
                                <p:cTn id="59" presetID="49" presetClass="entr" presetSubtype="0" decel="100000" fill="hold" grpId="0" nodeType="afterEffect">
                                  <p:stCondLst>
                                    <p:cond delay="0"/>
                                  </p:stCondLst>
                                  <p:childTnLst>
                                    <p:set>
                                      <p:cBhvr>
                                        <p:cTn id="60" dur="1" fill="hold">
                                          <p:stCondLst>
                                            <p:cond delay="0"/>
                                          </p:stCondLst>
                                        </p:cTn>
                                        <p:tgtEl>
                                          <p:spTgt spid="23"/>
                                        </p:tgtEl>
                                        <p:attrNameLst>
                                          <p:attrName>style.visibility</p:attrName>
                                        </p:attrNameLst>
                                      </p:cBhvr>
                                      <p:to>
                                        <p:strVal val="visible"/>
                                      </p:to>
                                    </p:set>
                                    <p:anim calcmode="lin" valueType="num">
                                      <p:cBhvr>
                                        <p:cTn id="61" dur="500" fill="hold"/>
                                        <p:tgtEl>
                                          <p:spTgt spid="23"/>
                                        </p:tgtEl>
                                        <p:attrNameLst>
                                          <p:attrName>ppt_w</p:attrName>
                                        </p:attrNameLst>
                                      </p:cBhvr>
                                      <p:tavLst>
                                        <p:tav tm="0">
                                          <p:val>
                                            <p:fltVal val="0"/>
                                          </p:val>
                                        </p:tav>
                                        <p:tav tm="100000">
                                          <p:val>
                                            <p:strVal val="#ppt_w"/>
                                          </p:val>
                                        </p:tav>
                                      </p:tavLst>
                                    </p:anim>
                                    <p:anim calcmode="lin" valueType="num">
                                      <p:cBhvr>
                                        <p:cTn id="62" dur="500" fill="hold"/>
                                        <p:tgtEl>
                                          <p:spTgt spid="23"/>
                                        </p:tgtEl>
                                        <p:attrNameLst>
                                          <p:attrName>ppt_h</p:attrName>
                                        </p:attrNameLst>
                                      </p:cBhvr>
                                      <p:tavLst>
                                        <p:tav tm="0">
                                          <p:val>
                                            <p:fltVal val="0"/>
                                          </p:val>
                                        </p:tav>
                                        <p:tav tm="100000">
                                          <p:val>
                                            <p:strVal val="#ppt_h"/>
                                          </p:val>
                                        </p:tav>
                                      </p:tavLst>
                                    </p:anim>
                                    <p:anim calcmode="lin" valueType="num">
                                      <p:cBhvr>
                                        <p:cTn id="63" dur="500" fill="hold"/>
                                        <p:tgtEl>
                                          <p:spTgt spid="23"/>
                                        </p:tgtEl>
                                        <p:attrNameLst>
                                          <p:attrName>style.rotation</p:attrName>
                                        </p:attrNameLst>
                                      </p:cBhvr>
                                      <p:tavLst>
                                        <p:tav tm="0">
                                          <p:val>
                                            <p:fltVal val="360"/>
                                          </p:val>
                                        </p:tav>
                                        <p:tav tm="100000">
                                          <p:val>
                                            <p:fltVal val="0"/>
                                          </p:val>
                                        </p:tav>
                                      </p:tavLst>
                                    </p:anim>
                                    <p:animEffect transition="in" filter="fade">
                                      <p:cBhvr>
                                        <p:cTn id="64" dur="500"/>
                                        <p:tgtEl>
                                          <p:spTgt spid="23"/>
                                        </p:tgtEl>
                                      </p:cBhvr>
                                    </p:animEffect>
                                  </p:childTnLst>
                                </p:cTn>
                              </p:par>
                            </p:childTnLst>
                          </p:cTn>
                        </p:par>
                        <p:par>
                          <p:cTn id="65" fill="hold">
                            <p:stCondLst>
                              <p:cond delay="4650"/>
                            </p:stCondLst>
                            <p:childTnLst>
                              <p:par>
                                <p:cTn id="66" presetID="23" presetClass="entr" presetSubtype="16" fill="hold" grpId="0" nodeType="afterEffect">
                                  <p:stCondLst>
                                    <p:cond delay="0"/>
                                  </p:stCondLst>
                                  <p:iterate type="lt">
                                    <p:tmPct val="10000"/>
                                  </p:iterate>
                                  <p:childTnLst>
                                    <p:set>
                                      <p:cBhvr>
                                        <p:cTn id="67" dur="1" fill="hold">
                                          <p:stCondLst>
                                            <p:cond delay="0"/>
                                          </p:stCondLst>
                                        </p:cTn>
                                        <p:tgtEl>
                                          <p:spTgt spid="19"/>
                                        </p:tgtEl>
                                        <p:attrNameLst>
                                          <p:attrName>style.visibility</p:attrName>
                                        </p:attrNameLst>
                                      </p:cBhvr>
                                      <p:to>
                                        <p:strVal val="visible"/>
                                      </p:to>
                                    </p:set>
                                    <p:anim calcmode="lin" valueType="num">
                                      <p:cBhvr>
                                        <p:cTn id="68" dur="250" fill="hold"/>
                                        <p:tgtEl>
                                          <p:spTgt spid="19"/>
                                        </p:tgtEl>
                                        <p:attrNameLst>
                                          <p:attrName>ppt_w</p:attrName>
                                        </p:attrNameLst>
                                      </p:cBhvr>
                                      <p:tavLst>
                                        <p:tav tm="0">
                                          <p:val>
                                            <p:fltVal val="0"/>
                                          </p:val>
                                        </p:tav>
                                        <p:tav tm="100000">
                                          <p:val>
                                            <p:strVal val="#ppt_w"/>
                                          </p:val>
                                        </p:tav>
                                      </p:tavLst>
                                    </p:anim>
                                    <p:anim calcmode="lin" valueType="num">
                                      <p:cBhvr>
                                        <p:cTn id="69" dur="250" fill="hold"/>
                                        <p:tgtEl>
                                          <p:spTgt spid="19"/>
                                        </p:tgtEl>
                                        <p:attrNameLst>
                                          <p:attrName>ppt_h</p:attrName>
                                        </p:attrNameLst>
                                      </p:cBhvr>
                                      <p:tavLst>
                                        <p:tav tm="0">
                                          <p:val>
                                            <p:fltVal val="0"/>
                                          </p:val>
                                        </p:tav>
                                        <p:tav tm="100000">
                                          <p:val>
                                            <p:strVal val="#ppt_h"/>
                                          </p:val>
                                        </p:tav>
                                      </p:tavLst>
                                    </p:anim>
                                  </p:childTnLst>
                                </p:cTn>
                              </p:par>
                            </p:childTnLst>
                          </p:cTn>
                        </p:par>
                        <p:par>
                          <p:cTn id="70" fill="hold">
                            <p:stCondLst>
                              <p:cond delay="4975"/>
                            </p:stCondLst>
                            <p:childTnLst>
                              <p:par>
                                <p:cTn id="71" presetID="14" presetClass="entr" presetSubtype="10" fill="hold" grpId="0" nodeType="afterEffect">
                                  <p:stCondLst>
                                    <p:cond delay="0"/>
                                  </p:stCondLst>
                                  <p:childTnLst>
                                    <p:set>
                                      <p:cBhvr>
                                        <p:cTn id="72" dur="1" fill="hold">
                                          <p:stCondLst>
                                            <p:cond delay="0"/>
                                          </p:stCondLst>
                                        </p:cTn>
                                        <p:tgtEl>
                                          <p:spTgt spid="20"/>
                                        </p:tgtEl>
                                        <p:attrNameLst>
                                          <p:attrName>style.visibility</p:attrName>
                                        </p:attrNameLst>
                                      </p:cBhvr>
                                      <p:to>
                                        <p:strVal val="visible"/>
                                      </p:to>
                                    </p:set>
                                    <p:animEffect transition="in" filter="randombar(horizontal)">
                                      <p:cBhvr>
                                        <p:cTn id="73"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4" fill="hold" display="0">
                  <p:stCondLst>
                    <p:cond delay="indefinite"/>
                  </p:stCondLst>
                  <p:endCondLst>
                    <p:cond evt="onStopAudio" delay="0">
                      <p:tgtEl>
                        <p:sldTgt/>
                      </p:tgtEl>
                    </p:cond>
                  </p:endCondLst>
                </p:cTn>
                <p:tgtEl>
                  <p:spTgt spid="28"/>
                </p:tgtEl>
              </p:cMediaNode>
            </p:audio>
          </p:childTnLst>
        </p:cTn>
      </p:par>
    </p:tnLst>
    <p:bldLst>
      <p:bldP spid="15" grpId="0"/>
      <p:bldP spid="16" grpId="0"/>
      <p:bldP spid="17" grpId="0"/>
      <p:bldP spid="18" grpId="0"/>
      <p:bldP spid="19" grpId="0"/>
      <p:bldP spid="20" grpId="0"/>
      <p:bldP spid="21" grpId="0" animBg="1"/>
      <p:bldP spid="22" grpId="0" animBg="1"/>
      <p:bldP spid="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IMING" val="|1.6|0.7"/>
</p:tagLst>
</file>

<file path=ppt/tags/tag3.xml><?xml version="1.0" encoding="utf-8"?>
<p:tagLst xmlns:a="http://schemas.openxmlformats.org/drawingml/2006/main" xmlns:r="http://schemas.openxmlformats.org/officeDocument/2006/relationships" xmlns:p="http://schemas.openxmlformats.org/presentationml/2006/main">
  <p:tag name="TIMING" val="|0.6|0.6|0.6|0.6|0.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5.xml><?xml version="1.0" encoding="utf-8"?>
<p:tagLst xmlns:a="http://schemas.openxmlformats.org/drawingml/2006/main" xmlns:r="http://schemas.openxmlformats.org/officeDocument/2006/relationships" xmlns:p="http://schemas.openxmlformats.org/presentationml/2006/main">
  <p:tag name="TIMING" val="|0.6|0.6|0.6|0.6|0.5|0.6|0.5|0.6|0.6"/>
</p:tagLst>
</file>

<file path=ppt/tags/tag6.xml><?xml version="1.0" encoding="utf-8"?>
<p:tagLst xmlns:a="http://schemas.openxmlformats.org/drawingml/2006/main" xmlns:r="http://schemas.openxmlformats.org/officeDocument/2006/relationships" xmlns:p="http://schemas.openxmlformats.org/presentationml/2006/main">
  <p:tag name="TIMING" val="|0.5|0.5"/>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19050">
          <a:solidFill>
            <a:schemeClr val="accent1">
              <a:lumMod val="50000"/>
            </a:schemeClr>
          </a:solidFill>
          <a:round/>
          <a:headEnd/>
          <a:tailEnd/>
        </a:ln>
      </a:spPr>
      <a:bodyPr anchor="ctr"/>
      <a:lstStyle>
        <a:defPPr algn="ctr">
          <a:defRPr>
            <a:latin typeface="微软雅黑" panose="020B0503020204020204" pitchFamily="34" charset="-122"/>
            <a:ea typeface="微软雅黑" panose="020B0503020204020204" pitchFamily="34" charset="-122"/>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510[[fn=肥皂]]</Template>
  <TotalTime>2226</TotalTime>
  <Words>1417</Words>
  <Application>Microsoft Office PowerPoint</Application>
  <PresentationFormat>宽屏</PresentationFormat>
  <Paragraphs>240</Paragraphs>
  <Slides>24</Slides>
  <Notes>24</Notes>
  <HiddenSlides>0</HiddenSlides>
  <MMClips>24</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24</vt:i4>
      </vt:variant>
    </vt:vector>
  </HeadingPairs>
  <TitlesOfParts>
    <vt:vector size="41" baseType="lpstr">
      <vt:lpstr>DFGothic-EB</vt:lpstr>
      <vt:lpstr>等线</vt:lpstr>
      <vt:lpstr>等线 Light</vt:lpstr>
      <vt:lpstr>方正粗倩简体</vt:lpstr>
      <vt:lpstr>方正兰亭黑_GBK</vt:lpstr>
      <vt:lpstr>方正细圆简体</vt:lpstr>
      <vt:lpstr>华文黑体</vt:lpstr>
      <vt:lpstr>华文新魏</vt:lpstr>
      <vt:lpstr>宋体</vt:lpstr>
      <vt:lpstr>微软雅黑</vt:lpstr>
      <vt:lpstr>幼圆</vt:lpstr>
      <vt:lpstr>Arial</vt:lpstr>
      <vt:lpstr>Arial Rounded MT Bold</vt:lpstr>
      <vt:lpstr>Calibri</vt:lpstr>
      <vt:lpstr>Haettenschweiler</vt:lpstr>
      <vt:lpstr>Times New Roman</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操子音</dc:creator>
  <cp:lastModifiedBy>PC</cp:lastModifiedBy>
  <cp:revision>111</cp:revision>
  <dcterms:created xsi:type="dcterms:W3CDTF">2017-03-28T08:13:05Z</dcterms:created>
  <dcterms:modified xsi:type="dcterms:W3CDTF">2017-09-04T10:13:00Z</dcterms:modified>
</cp:coreProperties>
</file>